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4"/>
  </p:notesMasterIdLst>
  <p:sldIdLst>
    <p:sldId id="345" r:id="rId2"/>
    <p:sldId id="346" r:id="rId3"/>
    <p:sldId id="347" r:id="rId4"/>
    <p:sldId id="348" r:id="rId5"/>
    <p:sldId id="349" r:id="rId6"/>
    <p:sldId id="351" r:id="rId7"/>
    <p:sldId id="353" r:id="rId8"/>
    <p:sldId id="354" r:id="rId9"/>
    <p:sldId id="355" r:id="rId10"/>
    <p:sldId id="260" r:id="rId11"/>
    <p:sldId id="261" r:id="rId12"/>
    <p:sldId id="262" r:id="rId13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8" autoAdjust="0"/>
    <p:restoredTop sz="85732" autoAdjust="0"/>
  </p:normalViewPr>
  <p:slideViewPr>
    <p:cSldViewPr snapToObjects="1" showGuides="1">
      <p:cViewPr varScale="1">
        <p:scale>
          <a:sx n="82" d="100"/>
          <a:sy n="82" d="100"/>
        </p:scale>
        <p:origin x="1080" y="102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6/22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IHrzcrB_3E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youtube.com/watch?v=6mW_gzdh6to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/>
              <a:t>Reference:</a:t>
            </a:r>
          </a:p>
          <a:p>
            <a:r>
              <a:rPr lang="es-MX" b="1" dirty="0" err="1"/>
              <a:t>Stability</a:t>
            </a:r>
            <a:r>
              <a:rPr lang="es-MX" b="1" dirty="0"/>
              <a:t> and Control </a:t>
            </a:r>
            <a:r>
              <a:rPr lang="es-MX" b="1" dirty="0" err="1"/>
              <a:t>Considerations</a:t>
            </a:r>
            <a:r>
              <a:rPr lang="es-MX" b="1" dirty="0"/>
              <a:t> </a:t>
            </a:r>
            <a:r>
              <a:rPr lang="es-MX" b="1" dirty="0" err="1"/>
              <a:t>of</a:t>
            </a:r>
            <a:r>
              <a:rPr lang="es-MX" b="1" dirty="0"/>
              <a:t> </a:t>
            </a:r>
            <a:r>
              <a:rPr lang="es-MX" b="1" dirty="0" err="1"/>
              <a:t>Vehicle-Trailer</a:t>
            </a:r>
            <a:r>
              <a:rPr lang="es-MX" b="1" dirty="0"/>
              <a:t> </a:t>
            </a:r>
            <a:r>
              <a:rPr lang="es-MX" b="1" dirty="0" err="1"/>
              <a:t>Combination</a:t>
            </a:r>
            <a:r>
              <a:rPr lang="es-MX" b="1" dirty="0"/>
              <a:t> / Aleksander </a:t>
            </a:r>
            <a:r>
              <a:rPr lang="es-MX" b="1" dirty="0" err="1"/>
              <a:t>Hac</a:t>
            </a:r>
            <a:r>
              <a:rPr lang="es-MX" b="1" dirty="0"/>
              <a:t>, Daniel </a:t>
            </a:r>
            <a:r>
              <a:rPr lang="es-MX" b="1" dirty="0" err="1"/>
              <a:t>Fulk</a:t>
            </a:r>
            <a:r>
              <a:rPr lang="es-MX" b="1" dirty="0"/>
              <a:t> </a:t>
            </a:r>
            <a:r>
              <a:rPr lang="es-MX" b="1" dirty="0" err="1"/>
              <a:t>Hsien</a:t>
            </a:r>
            <a:r>
              <a:rPr lang="es-MX" b="1" dirty="0"/>
              <a:t> Chen</a:t>
            </a:r>
          </a:p>
          <a:p>
            <a:r>
              <a:rPr lang="es-MX" dirty="0"/>
              <a:t>Delphi </a:t>
            </a:r>
            <a:r>
              <a:rPr lang="es-MX" dirty="0" err="1"/>
              <a:t>Corporation</a:t>
            </a:r>
            <a:endParaRPr lang="es-MX" dirty="0"/>
          </a:p>
          <a:p>
            <a:endParaRPr lang="es-MX" dirty="0"/>
          </a:p>
          <a:p>
            <a:r>
              <a:rPr lang="es-MX" b="1" dirty="0" err="1"/>
              <a:t>Introduction</a:t>
            </a:r>
            <a:r>
              <a:rPr lang="es-MX" b="1" dirty="0"/>
              <a:t>:</a:t>
            </a:r>
          </a:p>
          <a:p>
            <a:endParaRPr lang="es-MX" dirty="0"/>
          </a:p>
          <a:p>
            <a:r>
              <a:rPr lang="en-US" dirty="0"/>
              <a:t>Handling behavior of articulated vehicles is more complex and less predictable than that of non-articulated vehicles. This poses challenge to on-expert drives of light vehicles, who occasionally tow recreational trailers and may not have good understanding of dynamics complexity of vehicle-trailer combination. </a:t>
            </a:r>
          </a:p>
          <a:p>
            <a:r>
              <a:rPr lang="en-US" dirty="0"/>
              <a:t>The task of controlling vehicles becomes the most difficult when  system becomes unstable.</a:t>
            </a:r>
          </a:p>
          <a:p>
            <a:endParaRPr lang="en-US" dirty="0"/>
          </a:p>
          <a:p>
            <a:r>
              <a:rPr lang="en-US" dirty="0"/>
              <a:t>The articulated vehicle may experience two types of instability in the yaw plane. The first one is a divergent instability such as</a:t>
            </a:r>
            <a:r>
              <a:rPr lang="en-US" b="1" dirty="0"/>
              <a:t> jackknifing</a:t>
            </a:r>
            <a:r>
              <a:rPr lang="en-US" dirty="0"/>
              <a:t>, in which the hitch angle increases without experiencing oscillations.</a:t>
            </a:r>
          </a:p>
          <a:p>
            <a:r>
              <a:rPr lang="en-US" dirty="0"/>
              <a:t>This occurs when, at a particular operating conditions becomes negative and the speed is above critical velocity.</a:t>
            </a:r>
          </a:p>
          <a:p>
            <a:endParaRPr lang="en-US" dirty="0"/>
          </a:p>
          <a:p>
            <a:r>
              <a:rPr lang="en-US" dirty="0"/>
              <a:t>Jackknife example: </a:t>
            </a:r>
            <a:r>
              <a:rPr lang="en-US" dirty="0">
                <a:hlinkClick r:id="rId3"/>
              </a:rPr>
              <a:t>https://www.youtube.com/watch?v=EIHrzcrB_3E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second type is dynamics in nature and may lead to oscillatory response with increasing amplitude known as </a:t>
            </a:r>
            <a:r>
              <a:rPr lang="en-US" b="1" dirty="0"/>
              <a:t>shaking or sway.</a:t>
            </a:r>
          </a:p>
          <a:p>
            <a:endParaRPr lang="en-US" b="1" dirty="0"/>
          </a:p>
          <a:p>
            <a:r>
              <a:rPr lang="en-US" dirty="0">
                <a:hlinkClick r:id="rId4"/>
              </a:rPr>
              <a:t>https://www.youtube.com/watch?v=6mW_gzdh6to</a:t>
            </a:r>
            <a:endParaRPr lang="en-US" dirty="0"/>
          </a:p>
          <a:p>
            <a:endParaRPr lang="en-US" b="1" dirty="0"/>
          </a:p>
          <a:p>
            <a:r>
              <a:rPr lang="en-US" b="1" dirty="0"/>
              <a:t>Justification:</a:t>
            </a:r>
          </a:p>
          <a:p>
            <a:r>
              <a:rPr lang="en-US" b="0" dirty="0"/>
              <a:t> Since no direct feedback information about the trailer motion or even knowledge of trailer parameters is one of the most important issues for system intended for p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07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ont wheel steering angle, hitch angle and tire slip angles are assumed to be small, even tire slip angles could be considered as zero.</a:t>
            </a:r>
          </a:p>
          <a:p>
            <a:r>
              <a:rPr lang="en-US" dirty="0"/>
              <a:t>In addition, the force of aerodynamics are ignores (that’s mean considered system as flat vehicle or depreciable high)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4042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US" sz="14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US" sz="14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5213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US" sz="14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US" sz="14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365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g87fdb68ab9_0_0:notes"/>
          <p:cNvSpPr txBox="1">
            <a:spLocks noGrp="1"/>
          </p:cNvSpPr>
          <p:nvPr>
            <p:ph type="body" idx="1"/>
          </p:nvPr>
        </p:nvSpPr>
        <p:spPr>
          <a:xfrm>
            <a:off x="917575" y="4714875"/>
            <a:ext cx="4962600" cy="4467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600"/>
              </a:spcAft>
              <a:buNone/>
            </a:pPr>
            <a:endParaRPr/>
          </a:p>
        </p:txBody>
      </p:sp>
      <p:sp>
        <p:nvSpPr>
          <p:cNvPr id="291" name="Google Shape;291;g87fdb68ab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8a65a668f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800" cy="3722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3" name="Google Shape;303;g8a65a668f9_0_0:notes"/>
          <p:cNvSpPr txBox="1">
            <a:spLocks noGrp="1"/>
          </p:cNvSpPr>
          <p:nvPr>
            <p:ph type="body" idx="1"/>
          </p:nvPr>
        </p:nvSpPr>
        <p:spPr>
          <a:xfrm>
            <a:off x="917575" y="4714875"/>
            <a:ext cx="4962600" cy="4467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600"/>
              </a:spcAft>
              <a:buNone/>
            </a:pPr>
            <a:endParaRPr/>
          </a:p>
        </p:txBody>
      </p:sp>
      <p:sp>
        <p:nvSpPr>
          <p:cNvPr id="304" name="Google Shape;304;g8a65a668f9_0_0:notes"/>
          <p:cNvSpPr txBox="1">
            <a:spLocks noGrp="1"/>
          </p:cNvSpPr>
          <p:nvPr>
            <p:ph type="sldNum" idx="12"/>
          </p:nvPr>
        </p:nvSpPr>
        <p:spPr>
          <a:xfrm>
            <a:off x="3849688" y="9428163"/>
            <a:ext cx="2946300" cy="4968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8a65a668f9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800" cy="3722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8a65a668f9_0_14:notes"/>
          <p:cNvSpPr txBox="1">
            <a:spLocks noGrp="1"/>
          </p:cNvSpPr>
          <p:nvPr>
            <p:ph type="body" idx="1"/>
          </p:nvPr>
        </p:nvSpPr>
        <p:spPr>
          <a:xfrm>
            <a:off x="917575" y="4714875"/>
            <a:ext cx="4962600" cy="4467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600"/>
              </a:spcAft>
              <a:buNone/>
            </a:pPr>
            <a:endParaRPr/>
          </a:p>
        </p:txBody>
      </p:sp>
      <p:sp>
        <p:nvSpPr>
          <p:cNvPr id="314" name="Google Shape;314;g8a65a668f9_0_14:notes"/>
          <p:cNvSpPr txBox="1">
            <a:spLocks noGrp="1"/>
          </p:cNvSpPr>
          <p:nvPr>
            <p:ph type="sldNum" idx="12"/>
          </p:nvPr>
        </p:nvSpPr>
        <p:spPr>
          <a:xfrm>
            <a:off x="3849688" y="9428163"/>
            <a:ext cx="2946300" cy="4968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chemeClr val="tx1"/>
                </a:solidFill>
              </a:rPr>
              <a:t>Wen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neues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fügen</a:t>
            </a:r>
            <a:r>
              <a:rPr lang="en-US" sz="900" noProof="0" dirty="0">
                <a:solidFill>
                  <a:schemeClr val="tx1"/>
                </a:solidFill>
              </a:rPr>
              <a:t>: </a:t>
            </a:r>
            <a:r>
              <a:rPr lang="en-US" sz="900" noProof="0" dirty="0" err="1">
                <a:solidFill>
                  <a:schemeClr val="tx1"/>
                </a:solidFill>
              </a:rPr>
              <a:t>Klick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it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der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recht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austaste</a:t>
            </a:r>
            <a:r>
              <a:rPr lang="en-US" sz="900" noProof="0" dirty="0">
                <a:solidFill>
                  <a:schemeClr val="tx1"/>
                </a:solidFill>
              </a:rPr>
              <a:t> auf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und </a:t>
            </a:r>
            <a:r>
              <a:rPr lang="en-US" sz="900" noProof="0" dirty="0" err="1">
                <a:solidFill>
                  <a:schemeClr val="tx1"/>
                </a:solidFill>
              </a:rPr>
              <a:t>wählen</a:t>
            </a:r>
            <a:r>
              <a:rPr lang="en-US" sz="900" noProof="0" dirty="0">
                <a:solidFill>
                  <a:schemeClr val="tx1"/>
                </a:solidFill>
              </a:rPr>
              <a:t> „In den </a:t>
            </a:r>
            <a:r>
              <a:rPr lang="en-US" sz="900" noProof="0" dirty="0" err="1">
                <a:solidFill>
                  <a:schemeClr val="tx1"/>
                </a:solidFill>
              </a:rPr>
              <a:t>Hintergrund</a:t>
            </a:r>
            <a:r>
              <a:rPr lang="en-US" sz="900" noProof="0" dirty="0">
                <a:solidFill>
                  <a:schemeClr val="tx1"/>
                </a:solidFill>
              </a:rPr>
              <a:t>“, um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hinter das Quality Seal </a:t>
            </a:r>
            <a:r>
              <a:rPr lang="en-US" sz="900" noProof="0" dirty="0" err="1">
                <a:solidFill>
                  <a:schemeClr val="tx1"/>
                </a:solidFill>
              </a:rPr>
              <a:t>zu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ringen</a:t>
            </a:r>
            <a:r>
              <a:rPr lang="en-US" sz="9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LOGOPLACEHOLDER" hidden="1"/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>
            <a:srgbClr val="FFFFFF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800" noProof="0" dirty="0">
              <a:solidFill>
                <a:srgbClr val="00B0F0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13" Type="http://schemas.openxmlformats.org/officeDocument/2006/relationships/image" Target="../media/image160.png"/><Relationship Id="rId3" Type="http://schemas.openxmlformats.org/officeDocument/2006/relationships/image" Target="../media/image60.png"/><Relationship Id="rId7" Type="http://schemas.openxmlformats.org/officeDocument/2006/relationships/image" Target="../media/image100.png"/><Relationship Id="rId12" Type="http://schemas.openxmlformats.org/officeDocument/2006/relationships/image" Target="../media/image15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9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11" Type="http://schemas.openxmlformats.org/officeDocument/2006/relationships/image" Target="../media/image140.png"/><Relationship Id="rId5" Type="http://schemas.openxmlformats.org/officeDocument/2006/relationships/image" Target="../media/image80.png"/><Relationship Id="rId15" Type="http://schemas.openxmlformats.org/officeDocument/2006/relationships/image" Target="../media/image180.png"/><Relationship Id="rId10" Type="http://schemas.openxmlformats.org/officeDocument/2006/relationships/image" Target="../media/image130.png"/><Relationship Id="rId4" Type="http://schemas.openxmlformats.org/officeDocument/2006/relationships/image" Target="../media/image70.png"/><Relationship Id="rId9" Type="http://schemas.openxmlformats.org/officeDocument/2006/relationships/image" Target="../media/image120.png"/><Relationship Id="rId14" Type="http://schemas.openxmlformats.org/officeDocument/2006/relationships/image" Target="../media/image17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2019 Land Rover Discovery Sport Towing Capacity | Land Rover ...">
            <a:extLst>
              <a:ext uri="{FF2B5EF4-FFF2-40B4-BE49-F238E27FC236}">
                <a16:creationId xmlns:a16="http://schemas.microsoft.com/office/drawing/2014/main" id="{33E17297-1B8C-4A91-A91C-F34E2592B8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1" t="16115" r="-1" b="5587"/>
          <a:stretch/>
        </p:blipFill>
        <p:spPr bwMode="auto">
          <a:xfrm>
            <a:off x="154140" y="195263"/>
            <a:ext cx="8810473" cy="275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Lateral Control Passenger Cars with Trail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nalytical model of vehicle-trailer combina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DA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42351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4"/>
          <p:cNvSpPr txBox="1">
            <a:spLocks noGrp="1"/>
          </p:cNvSpPr>
          <p:nvPr>
            <p:ph type="dt" idx="10"/>
          </p:nvPr>
        </p:nvSpPr>
        <p:spPr>
          <a:xfrm>
            <a:off x="6350485" y="4551970"/>
            <a:ext cx="2001900" cy="1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26 May 2020</a:t>
            </a:r>
            <a:endParaRPr/>
          </a:p>
        </p:txBody>
      </p:sp>
      <p:sp>
        <p:nvSpPr>
          <p:cNvPr id="294" name="Google Shape;294;p24"/>
          <p:cNvSpPr txBox="1">
            <a:spLocks noGrp="1"/>
          </p:cNvSpPr>
          <p:nvPr>
            <p:ph type="sldNum" idx="12"/>
          </p:nvPr>
        </p:nvSpPr>
        <p:spPr>
          <a:xfrm>
            <a:off x="8388425" y="4665239"/>
            <a:ext cx="360300" cy="1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295" name="Google Shape;295;p24"/>
          <p:cNvSpPr txBox="1">
            <a:spLocks noGrp="1"/>
          </p:cNvSpPr>
          <p:nvPr>
            <p:ph type="ftr" idx="11"/>
          </p:nvPr>
        </p:nvSpPr>
        <p:spPr>
          <a:xfrm>
            <a:off x="6350486" y="4665239"/>
            <a:ext cx="2001900" cy="1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Author, © Continental AG</a:t>
            </a:r>
            <a:endParaRPr/>
          </a:p>
        </p:txBody>
      </p:sp>
      <p:sp>
        <p:nvSpPr>
          <p:cNvPr id="296" name="Google Shape;296;p24"/>
          <p:cNvSpPr txBox="1">
            <a:spLocks noGrp="1"/>
          </p:cNvSpPr>
          <p:nvPr>
            <p:ph type="title"/>
          </p:nvPr>
        </p:nvSpPr>
        <p:spPr>
          <a:xfrm>
            <a:off x="395289" y="241425"/>
            <a:ext cx="8353500" cy="72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5200" rIns="91425" bIns="0" anchor="t" anchorCtr="0">
            <a:noAutofit/>
          </a:bodyPr>
          <a:lstStyle/>
          <a:p>
            <a:pPr marL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rial"/>
              <a:buNone/>
            </a:pPr>
            <a:r>
              <a:rPr lang="en-US" dirty="0"/>
              <a:t>System of linear equations to the vehicle-trailer combination</a:t>
            </a:r>
            <a:endParaRPr dirty="0"/>
          </a:p>
        </p:txBody>
      </p:sp>
      <p:sp>
        <p:nvSpPr>
          <p:cNvPr id="297" name="Google Shape;297;p24"/>
          <p:cNvSpPr txBox="1">
            <a:spLocks noGrp="1"/>
          </p:cNvSpPr>
          <p:nvPr>
            <p:ph type="body" idx="1"/>
          </p:nvPr>
        </p:nvSpPr>
        <p:spPr>
          <a:xfrm>
            <a:off x="395300" y="1012659"/>
            <a:ext cx="8353500" cy="319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000" rIns="0" bIns="18000" anchor="t" anchorCtr="0">
            <a:noAutofit/>
          </a:bodyPr>
          <a:lstStyle/>
          <a:p>
            <a:pPr marL="177800" lvl="0" indent="-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/>
              <a:buChar char="›"/>
            </a:pPr>
            <a:r>
              <a:rPr lang="en-US" dirty="0"/>
              <a:t>The system written in a matrix form is:</a:t>
            </a:r>
            <a:endParaRPr dirty="0"/>
          </a:p>
          <a:p>
            <a:pPr marL="177800" lvl="0" indent="-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Char char="›"/>
            </a:pPr>
            <a:br>
              <a:rPr lang="en-US" dirty="0"/>
            </a:br>
            <a:br>
              <a:rPr lang="en-US" dirty="0"/>
            </a:br>
            <a:endParaRPr dirty="0"/>
          </a:p>
          <a:p>
            <a:pPr marL="177800" lvl="0" indent="-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Char char="›"/>
            </a:pPr>
            <a:r>
              <a:rPr lang="en-US" dirty="0"/>
              <a:t>Matrices </a:t>
            </a:r>
            <a:r>
              <a:rPr lang="en-US" b="1" dirty="0"/>
              <a:t>M, E </a:t>
            </a:r>
            <a:r>
              <a:rPr lang="en-US" dirty="0"/>
              <a:t>y</a:t>
            </a:r>
            <a:r>
              <a:rPr lang="en-US" b="1" dirty="0"/>
              <a:t> F </a:t>
            </a:r>
            <a:r>
              <a:rPr lang="en-US" dirty="0"/>
              <a:t>are constant  </a:t>
            </a:r>
            <a:br>
              <a:rPr lang="en-US" dirty="0"/>
            </a:br>
            <a:endParaRPr dirty="0"/>
          </a:p>
          <a:p>
            <a:pPr marL="177800" lvl="0" indent="-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Char char="›"/>
            </a:pPr>
            <a:endParaRPr dirty="0"/>
          </a:p>
        </p:txBody>
      </p:sp>
      <p:pic>
        <p:nvPicPr>
          <p:cNvPr id="298" name="Google Shape;298;p2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82529" y="1265538"/>
            <a:ext cx="2143125" cy="361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99" name="Google Shape;299;p24"/>
          <p:cNvPicPr preferRelativeResize="0"/>
          <p:nvPr/>
        </p:nvPicPr>
        <p:blipFill rotWithShape="1">
          <a:blip r:embed="rId4">
            <a:alphaModFix/>
          </a:blip>
          <a:srcRect r="8022"/>
          <a:stretch/>
        </p:blipFill>
        <p:spPr>
          <a:xfrm>
            <a:off x="78494" y="2505075"/>
            <a:ext cx="4853546" cy="1352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0" name="Google Shape;300;p24"/>
          <p:cNvPicPr preferRelativeResize="0"/>
          <p:nvPr/>
        </p:nvPicPr>
        <p:blipFill rotWithShape="1">
          <a:blip r:embed="rId5">
            <a:alphaModFix/>
          </a:blip>
          <a:srcRect r="2437"/>
          <a:stretch/>
        </p:blipFill>
        <p:spPr>
          <a:xfrm>
            <a:off x="4805921" y="2480423"/>
            <a:ext cx="4302583" cy="1381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25"/>
          <p:cNvSpPr txBox="1">
            <a:spLocks noGrp="1"/>
          </p:cNvSpPr>
          <p:nvPr>
            <p:ph type="body" idx="1"/>
          </p:nvPr>
        </p:nvSpPr>
        <p:spPr>
          <a:xfrm>
            <a:off x="395300" y="303229"/>
            <a:ext cx="8353500" cy="3852900"/>
          </a:xfrm>
          <a:prstGeom prst="rect">
            <a:avLst/>
          </a:prstGeom>
        </p:spPr>
        <p:txBody>
          <a:bodyPr spcFirstLastPara="1" wrap="square" lIns="0" tIns="18000" rIns="0" bIns="180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Matrix </a:t>
            </a:r>
            <a:r>
              <a:rPr lang="en-US" b="1"/>
              <a:t>D </a:t>
            </a:r>
            <a:r>
              <a:rPr lang="en-US"/>
              <a:t>is a function of the vehicle speed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/>
              <a:t>The state vector, </a:t>
            </a:r>
            <a:r>
              <a:rPr lang="en-US" b="1"/>
              <a:t>x</a:t>
            </a:r>
            <a:r>
              <a:rPr lang="en-US"/>
              <a:t>, and the control input, </a:t>
            </a:r>
            <a:r>
              <a:rPr lang="en-US" i="1"/>
              <a:t>u</a:t>
            </a:r>
            <a:r>
              <a:rPr lang="en-US"/>
              <a:t>, are given by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/>
              <a:t>, </a:t>
            </a:r>
            <a:endParaRPr/>
          </a:p>
        </p:txBody>
      </p:sp>
      <p:sp>
        <p:nvSpPr>
          <p:cNvPr id="307" name="Google Shape;307;p25"/>
          <p:cNvSpPr txBox="1">
            <a:spLocks noGrp="1"/>
          </p:cNvSpPr>
          <p:nvPr>
            <p:ph type="sldNum" idx="12"/>
          </p:nvPr>
        </p:nvSpPr>
        <p:spPr>
          <a:xfrm>
            <a:off x="8388425" y="4665239"/>
            <a:ext cx="360300" cy="11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pic>
        <p:nvPicPr>
          <p:cNvPr id="308" name="Google Shape;308;p2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67200" y="332594"/>
            <a:ext cx="171450" cy="257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09" name="Google Shape;309;p2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09588" y="714375"/>
            <a:ext cx="8429625" cy="2343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0" name="Google Shape;310;p2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62000" y="3470329"/>
            <a:ext cx="3371850" cy="4857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26"/>
          <p:cNvSpPr txBox="1">
            <a:spLocks noGrp="1"/>
          </p:cNvSpPr>
          <p:nvPr>
            <p:ph type="body" idx="1"/>
          </p:nvPr>
        </p:nvSpPr>
        <p:spPr>
          <a:xfrm>
            <a:off x="395300" y="303230"/>
            <a:ext cx="8353500" cy="3852900"/>
          </a:xfrm>
          <a:prstGeom prst="rect">
            <a:avLst/>
          </a:prstGeom>
        </p:spPr>
        <p:txBody>
          <a:bodyPr spcFirstLastPara="1" wrap="square" lIns="0" tIns="18000" rIns="0" bIns="180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By pre-multiplying system of linear equations on both sides by     , the state equation is obtained 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/>
              <a:t>Where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br>
              <a:rPr lang="en-US"/>
            </a:br>
            <a:endParaRPr/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endParaRPr/>
          </a:p>
        </p:txBody>
      </p:sp>
      <p:sp>
        <p:nvSpPr>
          <p:cNvPr id="317" name="Google Shape;317;p26"/>
          <p:cNvSpPr txBox="1">
            <a:spLocks noGrp="1"/>
          </p:cNvSpPr>
          <p:nvPr>
            <p:ph type="sldNum" idx="12"/>
          </p:nvPr>
        </p:nvSpPr>
        <p:spPr>
          <a:xfrm>
            <a:off x="8388425" y="4665239"/>
            <a:ext cx="360300" cy="11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  <p:pic>
        <p:nvPicPr>
          <p:cNvPr id="318" name="Google Shape;318;p2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019800" y="346130"/>
            <a:ext cx="276225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9" name="Google Shape;319;p2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57200" y="879530"/>
            <a:ext cx="1952625" cy="257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20" name="Google Shape;320;p2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33400" y="1641530"/>
            <a:ext cx="4124325" cy="3714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Arc 94">
            <a:extLst>
              <a:ext uri="{FF2B5EF4-FFF2-40B4-BE49-F238E27FC236}">
                <a16:creationId xmlns:a16="http://schemas.microsoft.com/office/drawing/2014/main" id="{48595C41-C535-4B6F-A75B-2D3DD9A74425}"/>
              </a:ext>
            </a:extLst>
          </p:cNvPr>
          <p:cNvSpPr/>
          <p:nvPr/>
        </p:nvSpPr>
        <p:spPr>
          <a:xfrm flipH="1">
            <a:off x="3247553" y="2678333"/>
            <a:ext cx="75113" cy="102922"/>
          </a:xfrm>
          <a:prstGeom prst="arc">
            <a:avLst>
              <a:gd name="adj1" fmla="val 16200000"/>
              <a:gd name="adj2" fmla="val 4436574"/>
            </a:avLst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37B5143-E8BA-427E-8138-1E615F66D92A}"/>
              </a:ext>
            </a:extLst>
          </p:cNvPr>
          <p:cNvCxnSpPr>
            <a:cxnSpLocks/>
          </p:cNvCxnSpPr>
          <p:nvPr/>
        </p:nvCxnSpPr>
        <p:spPr>
          <a:xfrm flipV="1">
            <a:off x="6618843" y="2581676"/>
            <a:ext cx="786188" cy="2636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6704591F-8EC5-4D0C-9E0C-BC5AE963C1FB}"/>
              </a:ext>
            </a:extLst>
          </p:cNvPr>
          <p:cNvCxnSpPr>
            <a:stCxn id="35" idx="7"/>
          </p:cNvCxnSpPr>
          <p:nvPr/>
        </p:nvCxnSpPr>
        <p:spPr>
          <a:xfrm flipV="1">
            <a:off x="6593709" y="2283718"/>
            <a:ext cx="792628" cy="312562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21504A-E8CD-407F-8826-7C2EAA6BBA17}"/>
                  </a:ext>
                </a:extLst>
              </p:cNvPr>
              <p:cNvSpPr txBox="1"/>
              <p:nvPr/>
            </p:nvSpPr>
            <p:spPr>
              <a:xfrm>
                <a:off x="7058428" y="2342928"/>
                <a:ext cx="30399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21504A-E8CD-407F-8826-7C2EAA6BB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58428" y="2342928"/>
                <a:ext cx="303993" cy="26161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189C2B3-51FB-45CB-A5E0-0E8F4801DCE2}"/>
              </a:ext>
            </a:extLst>
          </p:cNvPr>
          <p:cNvCxnSpPr>
            <a:cxnSpLocks/>
            <a:stCxn id="41" idx="4"/>
          </p:cNvCxnSpPr>
          <p:nvPr/>
        </p:nvCxnSpPr>
        <p:spPr>
          <a:xfrm>
            <a:off x="5146502" y="2748554"/>
            <a:ext cx="0" cy="736031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9D0D95E-0C20-4C8D-BCA5-FF791B93CAFF}"/>
              </a:ext>
            </a:extLst>
          </p:cNvPr>
          <p:cNvCxnSpPr>
            <a:cxnSpLocks/>
          </p:cNvCxnSpPr>
          <p:nvPr/>
        </p:nvCxnSpPr>
        <p:spPr>
          <a:xfrm>
            <a:off x="3887394" y="2067694"/>
            <a:ext cx="0" cy="1011843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4441A74-0D83-4A2E-AA4C-0062EB28F181}"/>
              </a:ext>
            </a:extLst>
          </p:cNvPr>
          <p:cNvCxnSpPr>
            <a:cxnSpLocks/>
          </p:cNvCxnSpPr>
          <p:nvPr/>
        </p:nvCxnSpPr>
        <p:spPr>
          <a:xfrm>
            <a:off x="3417338" y="2752285"/>
            <a:ext cx="0" cy="732300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74080BF-9FB5-4F09-9E8F-36C4E8FDA0C3}"/>
              </a:ext>
            </a:extLst>
          </p:cNvPr>
          <p:cNvCxnSpPr>
            <a:cxnSpLocks/>
          </p:cNvCxnSpPr>
          <p:nvPr/>
        </p:nvCxnSpPr>
        <p:spPr>
          <a:xfrm>
            <a:off x="6444208" y="2067694"/>
            <a:ext cx="0" cy="1011843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39A359B4-7A47-4217-BEAE-8DA6CD8964BD}"/>
              </a:ext>
            </a:extLst>
          </p:cNvPr>
          <p:cNvCxnSpPr>
            <a:cxnSpLocks/>
          </p:cNvCxnSpPr>
          <p:nvPr/>
        </p:nvCxnSpPr>
        <p:spPr>
          <a:xfrm>
            <a:off x="3887394" y="3059927"/>
            <a:ext cx="1259108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BAAE6FA-7D35-4B5D-B68B-7511FE0717C3}"/>
              </a:ext>
            </a:extLst>
          </p:cNvPr>
          <p:cNvCxnSpPr>
            <a:cxnSpLocks/>
          </p:cNvCxnSpPr>
          <p:nvPr/>
        </p:nvCxnSpPr>
        <p:spPr>
          <a:xfrm>
            <a:off x="5146502" y="3059927"/>
            <a:ext cx="1297706" cy="1961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DF087BF9-AC2D-42B9-9EEF-9BEA88AFAAC5}"/>
              </a:ext>
            </a:extLst>
          </p:cNvPr>
          <p:cNvCxnSpPr/>
          <p:nvPr/>
        </p:nvCxnSpPr>
        <p:spPr>
          <a:xfrm>
            <a:off x="3417338" y="3059927"/>
            <a:ext cx="470056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2F768B7-798B-4C9C-ABCC-0121CC002DF5}"/>
              </a:ext>
            </a:extLst>
          </p:cNvPr>
          <p:cNvCxnSpPr>
            <a:cxnSpLocks/>
          </p:cNvCxnSpPr>
          <p:nvPr/>
        </p:nvCxnSpPr>
        <p:spPr>
          <a:xfrm>
            <a:off x="3392747" y="3444794"/>
            <a:ext cx="1753755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9AC3F84-CF58-4765-9216-D3330CD2C639}"/>
              </a:ext>
            </a:extLst>
          </p:cNvPr>
          <p:cNvCxnSpPr>
            <a:cxnSpLocks/>
          </p:cNvCxnSpPr>
          <p:nvPr/>
        </p:nvCxnSpPr>
        <p:spPr>
          <a:xfrm>
            <a:off x="3887394" y="2342928"/>
            <a:ext cx="2556814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1B683A8-6AE8-447F-9996-0FDBB4F2E2BA}"/>
              </a:ext>
            </a:extLst>
          </p:cNvPr>
          <p:cNvCxnSpPr>
            <a:cxnSpLocks/>
          </p:cNvCxnSpPr>
          <p:nvPr/>
        </p:nvCxnSpPr>
        <p:spPr>
          <a:xfrm flipH="1" flipV="1">
            <a:off x="2922893" y="1930106"/>
            <a:ext cx="494147" cy="779248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1265F858-6A5B-4A85-B45E-C2CB3DFE515B}"/>
              </a:ext>
            </a:extLst>
          </p:cNvPr>
          <p:cNvCxnSpPr>
            <a:cxnSpLocks/>
          </p:cNvCxnSpPr>
          <p:nvPr/>
        </p:nvCxnSpPr>
        <p:spPr>
          <a:xfrm flipH="1" flipV="1">
            <a:off x="1724634" y="2608039"/>
            <a:ext cx="493953" cy="803278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5302240-654E-451D-A720-EE8F94990D0C}"/>
              </a:ext>
            </a:extLst>
          </p:cNvPr>
          <p:cNvCxnSpPr>
            <a:cxnSpLocks/>
          </p:cNvCxnSpPr>
          <p:nvPr/>
        </p:nvCxnSpPr>
        <p:spPr>
          <a:xfrm flipH="1" flipV="1">
            <a:off x="2604474" y="2493107"/>
            <a:ext cx="285200" cy="425635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121085BA-FACA-4054-A8F7-12D35FE75AF0}"/>
              </a:ext>
            </a:extLst>
          </p:cNvPr>
          <p:cNvCxnSpPr/>
          <p:nvPr/>
        </p:nvCxnSpPr>
        <p:spPr>
          <a:xfrm flipV="1">
            <a:off x="2032467" y="2630075"/>
            <a:ext cx="667325" cy="449462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179A8536-78CF-4454-A77B-8FD6E740161A}"/>
              </a:ext>
            </a:extLst>
          </p:cNvPr>
          <p:cNvCxnSpPr/>
          <p:nvPr/>
        </p:nvCxnSpPr>
        <p:spPr>
          <a:xfrm flipV="1">
            <a:off x="2699792" y="2342928"/>
            <a:ext cx="432346" cy="274423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AE5AF0D0-91B9-46AC-A40D-5EB8D6980E61}"/>
              </a:ext>
            </a:extLst>
          </p:cNvPr>
          <p:cNvCxnSpPr/>
          <p:nvPr/>
        </p:nvCxnSpPr>
        <p:spPr>
          <a:xfrm flipV="1">
            <a:off x="1889037" y="2130627"/>
            <a:ext cx="1126240" cy="731301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8BF72D0-961F-4F9F-8682-180E1ED9EFB8}"/>
              </a:ext>
            </a:extLst>
          </p:cNvPr>
          <p:cNvCxnSpPr>
            <a:stCxn id="24" idx="2"/>
          </p:cNvCxnSpPr>
          <p:nvPr/>
        </p:nvCxnSpPr>
        <p:spPr>
          <a:xfrm flipH="1" flipV="1">
            <a:off x="3059832" y="2673572"/>
            <a:ext cx="321502" cy="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843558"/>
            <a:ext cx="8353425" cy="3312517"/>
          </a:xfrm>
        </p:spPr>
        <p:txBody>
          <a:bodyPr/>
          <a:lstStyle/>
          <a:p>
            <a:r>
              <a:rPr lang="de-DE" dirty="0"/>
              <a:t>For the propouse of studyng the yaw plane dynamics of the vehicle-trailer conbination, a single track (mean bicycle description) 4-th order model ilustraited in Figure 1.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tical model of vehicle-trailer combination</a:t>
            </a:r>
            <a:br>
              <a:rPr lang="de-DE" dirty="0"/>
            </a:b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2 June 2020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FBFA9A-C34A-4BC0-8441-4DD4E99D7772}"/>
              </a:ext>
            </a:extLst>
          </p:cNvPr>
          <p:cNvGrpSpPr/>
          <p:nvPr/>
        </p:nvGrpSpPr>
        <p:grpSpPr>
          <a:xfrm rot="3404244">
            <a:off x="2135859" y="3157706"/>
            <a:ext cx="249065" cy="507978"/>
            <a:chOff x="5106987" y="1347788"/>
            <a:chExt cx="1666875" cy="3495675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D317F40-06DA-46F3-9163-DABF7C2AC9E1}"/>
                </a:ext>
              </a:extLst>
            </p:cNvPr>
            <p:cNvSpPr/>
            <p:nvPr/>
          </p:nvSpPr>
          <p:spPr>
            <a:xfrm>
              <a:off x="5106987" y="1347788"/>
              <a:ext cx="1666875" cy="3495675"/>
            </a:xfrm>
            <a:custGeom>
              <a:avLst/>
              <a:gdLst>
                <a:gd name="connsiteX0" fmla="*/ 1290638 w 1666875"/>
                <a:gd name="connsiteY0" fmla="*/ 0 h 3495675"/>
                <a:gd name="connsiteX1" fmla="*/ 376238 w 1666875"/>
                <a:gd name="connsiteY1" fmla="*/ 0 h 3495675"/>
                <a:gd name="connsiteX2" fmla="*/ 0 w 1666875"/>
                <a:gd name="connsiteY2" fmla="*/ 376238 h 3495675"/>
                <a:gd name="connsiteX3" fmla="*/ 0 w 1666875"/>
                <a:gd name="connsiteY3" fmla="*/ 3119438 h 3495675"/>
                <a:gd name="connsiteX4" fmla="*/ 376238 w 1666875"/>
                <a:gd name="connsiteY4" fmla="*/ 3495675 h 3495675"/>
                <a:gd name="connsiteX5" fmla="*/ 1290638 w 1666875"/>
                <a:gd name="connsiteY5" fmla="*/ 3495675 h 3495675"/>
                <a:gd name="connsiteX6" fmla="*/ 1666875 w 1666875"/>
                <a:gd name="connsiteY6" fmla="*/ 3119438 h 3495675"/>
                <a:gd name="connsiteX7" fmla="*/ 1666875 w 1666875"/>
                <a:gd name="connsiteY7" fmla="*/ 376238 h 3495675"/>
                <a:gd name="connsiteX8" fmla="*/ 1290638 w 1666875"/>
                <a:gd name="connsiteY8" fmla="*/ 0 h 3495675"/>
                <a:gd name="connsiteX9" fmla="*/ 1524000 w 1666875"/>
                <a:gd name="connsiteY9" fmla="*/ 3119438 h 3495675"/>
                <a:gd name="connsiteX10" fmla="*/ 1290638 w 1666875"/>
                <a:gd name="connsiteY10" fmla="*/ 3352800 h 3495675"/>
                <a:gd name="connsiteX11" fmla="*/ 376238 w 1666875"/>
                <a:gd name="connsiteY11" fmla="*/ 3352800 h 3495675"/>
                <a:gd name="connsiteX12" fmla="*/ 142875 w 1666875"/>
                <a:gd name="connsiteY12" fmla="*/ 3119438 h 3495675"/>
                <a:gd name="connsiteX13" fmla="*/ 142875 w 1666875"/>
                <a:gd name="connsiteY13" fmla="*/ 376238 h 3495675"/>
                <a:gd name="connsiteX14" fmla="*/ 376238 w 1666875"/>
                <a:gd name="connsiteY14" fmla="*/ 142875 h 3495675"/>
                <a:gd name="connsiteX15" fmla="*/ 1290638 w 1666875"/>
                <a:gd name="connsiteY15" fmla="*/ 142875 h 3495675"/>
                <a:gd name="connsiteX16" fmla="*/ 1524000 w 1666875"/>
                <a:gd name="connsiteY16" fmla="*/ 376238 h 3495675"/>
                <a:gd name="connsiteX17" fmla="*/ 1524000 w 1666875"/>
                <a:gd name="connsiteY17" fmla="*/ 3119438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6875" h="3495675">
                  <a:moveTo>
                    <a:pt x="1290638" y="0"/>
                  </a:moveTo>
                  <a:lnTo>
                    <a:pt x="376238" y="0"/>
                  </a:lnTo>
                  <a:cubicBezTo>
                    <a:pt x="168450" y="0"/>
                    <a:pt x="0" y="168450"/>
                    <a:pt x="0" y="376238"/>
                  </a:cubicBezTo>
                  <a:lnTo>
                    <a:pt x="0" y="3119438"/>
                  </a:lnTo>
                  <a:cubicBezTo>
                    <a:pt x="0" y="3327226"/>
                    <a:pt x="168450" y="3495675"/>
                    <a:pt x="376238" y="3495675"/>
                  </a:cubicBezTo>
                  <a:lnTo>
                    <a:pt x="1290638" y="3495675"/>
                  </a:lnTo>
                  <a:cubicBezTo>
                    <a:pt x="1498425" y="3495675"/>
                    <a:pt x="1666875" y="3327226"/>
                    <a:pt x="1666875" y="3119438"/>
                  </a:cubicBezTo>
                  <a:lnTo>
                    <a:pt x="1666875" y="376238"/>
                  </a:lnTo>
                  <a:cubicBezTo>
                    <a:pt x="1666875" y="168450"/>
                    <a:pt x="1498425" y="0"/>
                    <a:pt x="1290638" y="0"/>
                  </a:cubicBezTo>
                  <a:close/>
                  <a:moveTo>
                    <a:pt x="1524000" y="3119438"/>
                  </a:moveTo>
                  <a:cubicBezTo>
                    <a:pt x="1524000" y="3248320"/>
                    <a:pt x="1419520" y="3352800"/>
                    <a:pt x="1290638" y="3352800"/>
                  </a:cubicBezTo>
                  <a:lnTo>
                    <a:pt x="376238" y="3352800"/>
                  </a:lnTo>
                  <a:cubicBezTo>
                    <a:pt x="247355" y="3352800"/>
                    <a:pt x="142875" y="3248320"/>
                    <a:pt x="142875" y="3119438"/>
                  </a:cubicBezTo>
                  <a:lnTo>
                    <a:pt x="142875" y="376238"/>
                  </a:lnTo>
                  <a:cubicBezTo>
                    <a:pt x="142875" y="247355"/>
                    <a:pt x="247355" y="142875"/>
                    <a:pt x="376238" y="142875"/>
                  </a:cubicBezTo>
                  <a:lnTo>
                    <a:pt x="1290638" y="142875"/>
                  </a:lnTo>
                  <a:cubicBezTo>
                    <a:pt x="1419520" y="142875"/>
                    <a:pt x="1524000" y="247355"/>
                    <a:pt x="1524000" y="376238"/>
                  </a:cubicBezTo>
                  <a:lnTo>
                    <a:pt x="1524000" y="311943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A121EB6-C535-4C0C-90A5-A5ED757381D3}"/>
                </a:ext>
              </a:extLst>
            </p:cNvPr>
            <p:cNvSpPr/>
            <p:nvPr/>
          </p:nvSpPr>
          <p:spPr>
            <a:xfrm>
              <a:off x="5411787" y="44624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24713CE-D232-47D3-96C5-E8A1E27B57DB}"/>
                </a:ext>
              </a:extLst>
            </p:cNvPr>
            <p:cNvSpPr/>
            <p:nvPr/>
          </p:nvSpPr>
          <p:spPr>
            <a:xfrm>
              <a:off x="5411787" y="1566863"/>
              <a:ext cx="1057275" cy="3048000"/>
            </a:xfrm>
            <a:custGeom>
              <a:avLst/>
              <a:gdLst>
                <a:gd name="connsiteX0" fmla="*/ 914400 w 1057275"/>
                <a:gd name="connsiteY0" fmla="*/ 381000 h 3048000"/>
                <a:gd name="connsiteX1" fmla="*/ 914400 w 1057275"/>
                <a:gd name="connsiteY1" fmla="*/ 589531 h 3048000"/>
                <a:gd name="connsiteX2" fmla="*/ 752475 w 1057275"/>
                <a:gd name="connsiteY2" fmla="*/ 427606 h 3048000"/>
                <a:gd name="connsiteX3" fmla="*/ 752475 w 1057275"/>
                <a:gd name="connsiteY3" fmla="*/ 0 h 3048000"/>
                <a:gd name="connsiteX4" fmla="*/ 609600 w 1057275"/>
                <a:gd name="connsiteY4" fmla="*/ 0 h 3048000"/>
                <a:gd name="connsiteX5" fmla="*/ 609600 w 1057275"/>
                <a:gd name="connsiteY5" fmla="*/ 122806 h 3048000"/>
                <a:gd name="connsiteX6" fmla="*/ 447675 w 1057275"/>
                <a:gd name="connsiteY6" fmla="*/ 284731 h 3048000"/>
                <a:gd name="connsiteX7" fmla="*/ 447675 w 1057275"/>
                <a:gd name="connsiteY7" fmla="*/ 0 h 3048000"/>
                <a:gd name="connsiteX8" fmla="*/ 304800 w 1057275"/>
                <a:gd name="connsiteY8" fmla="*/ 0 h 3048000"/>
                <a:gd name="connsiteX9" fmla="*/ 304800 w 1057275"/>
                <a:gd name="connsiteY9" fmla="*/ 589531 h 3048000"/>
                <a:gd name="connsiteX10" fmla="*/ 142875 w 1057275"/>
                <a:gd name="connsiteY10" fmla="*/ 427606 h 3048000"/>
                <a:gd name="connsiteX11" fmla="*/ 142875 w 1057275"/>
                <a:gd name="connsiteY11" fmla="*/ 0 h 3048000"/>
                <a:gd name="connsiteX12" fmla="*/ 0 w 1057275"/>
                <a:gd name="connsiteY12" fmla="*/ 0 h 3048000"/>
                <a:gd name="connsiteX13" fmla="*/ 0 w 1057275"/>
                <a:gd name="connsiteY13" fmla="*/ 2667000 h 3048000"/>
                <a:gd name="connsiteX14" fmla="*/ 142875 w 1057275"/>
                <a:gd name="connsiteY14" fmla="*/ 2667000 h 3048000"/>
                <a:gd name="connsiteX15" fmla="*/ 142875 w 1057275"/>
                <a:gd name="connsiteY15" fmla="*/ 2458469 h 3048000"/>
                <a:gd name="connsiteX16" fmla="*/ 304800 w 1057275"/>
                <a:gd name="connsiteY16" fmla="*/ 2620394 h 3048000"/>
                <a:gd name="connsiteX17" fmla="*/ 304800 w 1057275"/>
                <a:gd name="connsiteY17" fmla="*/ 3048000 h 3048000"/>
                <a:gd name="connsiteX18" fmla="*/ 447675 w 1057275"/>
                <a:gd name="connsiteY18" fmla="*/ 3048000 h 3048000"/>
                <a:gd name="connsiteX19" fmla="*/ 447675 w 1057275"/>
                <a:gd name="connsiteY19" fmla="*/ 2925194 h 3048000"/>
                <a:gd name="connsiteX20" fmla="*/ 609600 w 1057275"/>
                <a:gd name="connsiteY20" fmla="*/ 2763269 h 3048000"/>
                <a:gd name="connsiteX21" fmla="*/ 609600 w 1057275"/>
                <a:gd name="connsiteY21" fmla="*/ 3048000 h 3048000"/>
                <a:gd name="connsiteX22" fmla="*/ 752475 w 1057275"/>
                <a:gd name="connsiteY22" fmla="*/ 3048000 h 3048000"/>
                <a:gd name="connsiteX23" fmla="*/ 752475 w 1057275"/>
                <a:gd name="connsiteY23" fmla="*/ 2458469 h 3048000"/>
                <a:gd name="connsiteX24" fmla="*/ 914400 w 1057275"/>
                <a:gd name="connsiteY24" fmla="*/ 2620394 h 3048000"/>
                <a:gd name="connsiteX25" fmla="*/ 914400 w 1057275"/>
                <a:gd name="connsiteY25" fmla="*/ 3048000 h 3048000"/>
                <a:gd name="connsiteX26" fmla="*/ 1057275 w 1057275"/>
                <a:gd name="connsiteY26" fmla="*/ 3048000 h 3048000"/>
                <a:gd name="connsiteX27" fmla="*/ 1057275 w 1057275"/>
                <a:gd name="connsiteY27" fmla="*/ 381000 h 3048000"/>
                <a:gd name="connsiteX28" fmla="*/ 914400 w 1057275"/>
                <a:gd name="connsiteY28" fmla="*/ 381000 h 3048000"/>
                <a:gd name="connsiteX29" fmla="*/ 304800 w 1057275"/>
                <a:gd name="connsiteY29" fmla="*/ 2418331 h 3048000"/>
                <a:gd name="connsiteX30" fmla="*/ 142875 w 1057275"/>
                <a:gd name="connsiteY30" fmla="*/ 2256406 h 3048000"/>
                <a:gd name="connsiteX31" fmla="*/ 142875 w 1057275"/>
                <a:gd name="connsiteY31" fmla="*/ 1848869 h 3048000"/>
                <a:gd name="connsiteX32" fmla="*/ 304800 w 1057275"/>
                <a:gd name="connsiteY32" fmla="*/ 2010794 h 3048000"/>
                <a:gd name="connsiteX33" fmla="*/ 304800 w 1057275"/>
                <a:gd name="connsiteY33" fmla="*/ 2418331 h 3048000"/>
                <a:gd name="connsiteX34" fmla="*/ 304800 w 1057275"/>
                <a:gd name="connsiteY34" fmla="*/ 1808731 h 3048000"/>
                <a:gd name="connsiteX35" fmla="*/ 142875 w 1057275"/>
                <a:gd name="connsiteY35" fmla="*/ 1646806 h 3048000"/>
                <a:gd name="connsiteX36" fmla="*/ 142875 w 1057275"/>
                <a:gd name="connsiteY36" fmla="*/ 1239269 h 3048000"/>
                <a:gd name="connsiteX37" fmla="*/ 304800 w 1057275"/>
                <a:gd name="connsiteY37" fmla="*/ 1401194 h 3048000"/>
                <a:gd name="connsiteX38" fmla="*/ 304800 w 1057275"/>
                <a:gd name="connsiteY38" fmla="*/ 1808731 h 3048000"/>
                <a:gd name="connsiteX39" fmla="*/ 304800 w 1057275"/>
                <a:gd name="connsiteY39" fmla="*/ 1199131 h 3048000"/>
                <a:gd name="connsiteX40" fmla="*/ 142875 w 1057275"/>
                <a:gd name="connsiteY40" fmla="*/ 1037206 h 3048000"/>
                <a:gd name="connsiteX41" fmla="*/ 142875 w 1057275"/>
                <a:gd name="connsiteY41" fmla="*/ 629669 h 3048000"/>
                <a:gd name="connsiteX42" fmla="*/ 304800 w 1057275"/>
                <a:gd name="connsiteY42" fmla="*/ 791594 h 3048000"/>
                <a:gd name="connsiteX43" fmla="*/ 304800 w 1057275"/>
                <a:gd name="connsiteY43" fmla="*/ 1199131 h 3048000"/>
                <a:gd name="connsiteX44" fmla="*/ 609600 w 1057275"/>
                <a:gd name="connsiteY44" fmla="*/ 2561206 h 3048000"/>
                <a:gd name="connsiteX45" fmla="*/ 447675 w 1057275"/>
                <a:gd name="connsiteY45" fmla="*/ 2723131 h 3048000"/>
                <a:gd name="connsiteX46" fmla="*/ 447675 w 1057275"/>
                <a:gd name="connsiteY46" fmla="*/ 2315594 h 3048000"/>
                <a:gd name="connsiteX47" fmla="*/ 609600 w 1057275"/>
                <a:gd name="connsiteY47" fmla="*/ 2153669 h 3048000"/>
                <a:gd name="connsiteX48" fmla="*/ 609600 w 1057275"/>
                <a:gd name="connsiteY48" fmla="*/ 2561206 h 3048000"/>
                <a:gd name="connsiteX49" fmla="*/ 609600 w 1057275"/>
                <a:gd name="connsiteY49" fmla="*/ 1951606 h 3048000"/>
                <a:gd name="connsiteX50" fmla="*/ 447675 w 1057275"/>
                <a:gd name="connsiteY50" fmla="*/ 2113531 h 3048000"/>
                <a:gd name="connsiteX51" fmla="*/ 447675 w 1057275"/>
                <a:gd name="connsiteY51" fmla="*/ 1705994 h 3048000"/>
                <a:gd name="connsiteX52" fmla="*/ 609600 w 1057275"/>
                <a:gd name="connsiteY52" fmla="*/ 1544069 h 3048000"/>
                <a:gd name="connsiteX53" fmla="*/ 609600 w 1057275"/>
                <a:gd name="connsiteY53" fmla="*/ 1951606 h 3048000"/>
                <a:gd name="connsiteX54" fmla="*/ 609600 w 1057275"/>
                <a:gd name="connsiteY54" fmla="*/ 1342006 h 3048000"/>
                <a:gd name="connsiteX55" fmla="*/ 447675 w 1057275"/>
                <a:gd name="connsiteY55" fmla="*/ 1503931 h 3048000"/>
                <a:gd name="connsiteX56" fmla="*/ 447675 w 1057275"/>
                <a:gd name="connsiteY56" fmla="*/ 1096394 h 3048000"/>
                <a:gd name="connsiteX57" fmla="*/ 609600 w 1057275"/>
                <a:gd name="connsiteY57" fmla="*/ 934469 h 3048000"/>
                <a:gd name="connsiteX58" fmla="*/ 609600 w 1057275"/>
                <a:gd name="connsiteY58" fmla="*/ 1342006 h 3048000"/>
                <a:gd name="connsiteX59" fmla="*/ 609600 w 1057275"/>
                <a:gd name="connsiteY59" fmla="*/ 732406 h 3048000"/>
                <a:gd name="connsiteX60" fmla="*/ 447675 w 1057275"/>
                <a:gd name="connsiteY60" fmla="*/ 894331 h 3048000"/>
                <a:gd name="connsiteX61" fmla="*/ 447675 w 1057275"/>
                <a:gd name="connsiteY61" fmla="*/ 486794 h 3048000"/>
                <a:gd name="connsiteX62" fmla="*/ 609600 w 1057275"/>
                <a:gd name="connsiteY62" fmla="*/ 324869 h 3048000"/>
                <a:gd name="connsiteX63" fmla="*/ 609600 w 1057275"/>
                <a:gd name="connsiteY63" fmla="*/ 732406 h 3048000"/>
                <a:gd name="connsiteX64" fmla="*/ 914400 w 1057275"/>
                <a:gd name="connsiteY64" fmla="*/ 2418331 h 3048000"/>
                <a:gd name="connsiteX65" fmla="*/ 752475 w 1057275"/>
                <a:gd name="connsiteY65" fmla="*/ 2256406 h 3048000"/>
                <a:gd name="connsiteX66" fmla="*/ 752475 w 1057275"/>
                <a:gd name="connsiteY66" fmla="*/ 1848869 h 3048000"/>
                <a:gd name="connsiteX67" fmla="*/ 914400 w 1057275"/>
                <a:gd name="connsiteY67" fmla="*/ 2010794 h 3048000"/>
                <a:gd name="connsiteX68" fmla="*/ 914400 w 1057275"/>
                <a:gd name="connsiteY68" fmla="*/ 2418331 h 3048000"/>
                <a:gd name="connsiteX69" fmla="*/ 914400 w 1057275"/>
                <a:gd name="connsiteY69" fmla="*/ 1808731 h 3048000"/>
                <a:gd name="connsiteX70" fmla="*/ 752475 w 1057275"/>
                <a:gd name="connsiteY70" fmla="*/ 1646806 h 3048000"/>
                <a:gd name="connsiteX71" fmla="*/ 752475 w 1057275"/>
                <a:gd name="connsiteY71" fmla="*/ 1239269 h 3048000"/>
                <a:gd name="connsiteX72" fmla="*/ 914400 w 1057275"/>
                <a:gd name="connsiteY72" fmla="*/ 1401194 h 3048000"/>
                <a:gd name="connsiteX73" fmla="*/ 914400 w 1057275"/>
                <a:gd name="connsiteY73" fmla="*/ 1808731 h 3048000"/>
                <a:gd name="connsiteX74" fmla="*/ 914400 w 1057275"/>
                <a:gd name="connsiteY74" fmla="*/ 1199131 h 3048000"/>
                <a:gd name="connsiteX75" fmla="*/ 752475 w 1057275"/>
                <a:gd name="connsiteY75" fmla="*/ 1037206 h 3048000"/>
                <a:gd name="connsiteX76" fmla="*/ 752475 w 1057275"/>
                <a:gd name="connsiteY76" fmla="*/ 629669 h 3048000"/>
                <a:gd name="connsiteX77" fmla="*/ 914400 w 1057275"/>
                <a:gd name="connsiteY77" fmla="*/ 791594 h 3048000"/>
                <a:gd name="connsiteX78" fmla="*/ 914400 w 1057275"/>
                <a:gd name="connsiteY78" fmla="*/ 1199131 h 30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057275" h="3048000">
                  <a:moveTo>
                    <a:pt x="914400" y="381000"/>
                  </a:moveTo>
                  <a:lnTo>
                    <a:pt x="914400" y="589531"/>
                  </a:lnTo>
                  <a:lnTo>
                    <a:pt x="752475" y="427606"/>
                  </a:lnTo>
                  <a:lnTo>
                    <a:pt x="752475" y="0"/>
                  </a:lnTo>
                  <a:lnTo>
                    <a:pt x="609600" y="0"/>
                  </a:lnTo>
                  <a:lnTo>
                    <a:pt x="609600" y="122806"/>
                  </a:lnTo>
                  <a:lnTo>
                    <a:pt x="447675" y="284731"/>
                  </a:lnTo>
                  <a:lnTo>
                    <a:pt x="447675" y="0"/>
                  </a:lnTo>
                  <a:lnTo>
                    <a:pt x="304800" y="0"/>
                  </a:lnTo>
                  <a:lnTo>
                    <a:pt x="304800" y="589531"/>
                  </a:lnTo>
                  <a:lnTo>
                    <a:pt x="142875" y="427606"/>
                  </a:lnTo>
                  <a:lnTo>
                    <a:pt x="142875" y="0"/>
                  </a:lnTo>
                  <a:lnTo>
                    <a:pt x="0" y="0"/>
                  </a:lnTo>
                  <a:lnTo>
                    <a:pt x="0" y="2667000"/>
                  </a:lnTo>
                  <a:lnTo>
                    <a:pt x="142875" y="2667000"/>
                  </a:lnTo>
                  <a:lnTo>
                    <a:pt x="142875" y="2458469"/>
                  </a:lnTo>
                  <a:lnTo>
                    <a:pt x="304800" y="2620394"/>
                  </a:lnTo>
                  <a:lnTo>
                    <a:pt x="304800" y="3048000"/>
                  </a:lnTo>
                  <a:lnTo>
                    <a:pt x="447675" y="3048000"/>
                  </a:lnTo>
                  <a:lnTo>
                    <a:pt x="447675" y="2925194"/>
                  </a:lnTo>
                  <a:lnTo>
                    <a:pt x="609600" y="2763269"/>
                  </a:lnTo>
                  <a:lnTo>
                    <a:pt x="609600" y="3048000"/>
                  </a:lnTo>
                  <a:lnTo>
                    <a:pt x="752475" y="3048000"/>
                  </a:lnTo>
                  <a:lnTo>
                    <a:pt x="752475" y="2458469"/>
                  </a:lnTo>
                  <a:lnTo>
                    <a:pt x="914400" y="2620394"/>
                  </a:lnTo>
                  <a:lnTo>
                    <a:pt x="914400" y="3048000"/>
                  </a:lnTo>
                  <a:lnTo>
                    <a:pt x="1057275" y="3048000"/>
                  </a:lnTo>
                  <a:lnTo>
                    <a:pt x="1057275" y="381000"/>
                  </a:lnTo>
                  <a:lnTo>
                    <a:pt x="914400" y="381000"/>
                  </a:lnTo>
                  <a:close/>
                  <a:moveTo>
                    <a:pt x="304800" y="2418331"/>
                  </a:moveTo>
                  <a:lnTo>
                    <a:pt x="142875" y="2256406"/>
                  </a:lnTo>
                  <a:lnTo>
                    <a:pt x="142875" y="1848869"/>
                  </a:lnTo>
                  <a:lnTo>
                    <a:pt x="304800" y="2010794"/>
                  </a:lnTo>
                  <a:lnTo>
                    <a:pt x="304800" y="2418331"/>
                  </a:lnTo>
                  <a:close/>
                  <a:moveTo>
                    <a:pt x="304800" y="1808731"/>
                  </a:moveTo>
                  <a:lnTo>
                    <a:pt x="142875" y="1646806"/>
                  </a:lnTo>
                  <a:lnTo>
                    <a:pt x="142875" y="1239269"/>
                  </a:lnTo>
                  <a:lnTo>
                    <a:pt x="304800" y="1401194"/>
                  </a:lnTo>
                  <a:lnTo>
                    <a:pt x="304800" y="1808731"/>
                  </a:lnTo>
                  <a:close/>
                  <a:moveTo>
                    <a:pt x="304800" y="1199131"/>
                  </a:moveTo>
                  <a:lnTo>
                    <a:pt x="142875" y="1037206"/>
                  </a:lnTo>
                  <a:lnTo>
                    <a:pt x="142875" y="629669"/>
                  </a:lnTo>
                  <a:lnTo>
                    <a:pt x="304800" y="791594"/>
                  </a:lnTo>
                  <a:lnTo>
                    <a:pt x="304800" y="1199131"/>
                  </a:lnTo>
                  <a:close/>
                  <a:moveTo>
                    <a:pt x="609600" y="2561206"/>
                  </a:moveTo>
                  <a:lnTo>
                    <a:pt x="447675" y="2723131"/>
                  </a:lnTo>
                  <a:lnTo>
                    <a:pt x="447675" y="2315594"/>
                  </a:lnTo>
                  <a:lnTo>
                    <a:pt x="609600" y="2153669"/>
                  </a:lnTo>
                  <a:lnTo>
                    <a:pt x="609600" y="2561206"/>
                  </a:lnTo>
                  <a:close/>
                  <a:moveTo>
                    <a:pt x="609600" y="1951606"/>
                  </a:moveTo>
                  <a:lnTo>
                    <a:pt x="447675" y="2113531"/>
                  </a:lnTo>
                  <a:lnTo>
                    <a:pt x="447675" y="1705994"/>
                  </a:lnTo>
                  <a:lnTo>
                    <a:pt x="609600" y="1544069"/>
                  </a:lnTo>
                  <a:lnTo>
                    <a:pt x="609600" y="1951606"/>
                  </a:lnTo>
                  <a:close/>
                  <a:moveTo>
                    <a:pt x="609600" y="1342006"/>
                  </a:moveTo>
                  <a:lnTo>
                    <a:pt x="447675" y="1503931"/>
                  </a:lnTo>
                  <a:lnTo>
                    <a:pt x="447675" y="1096394"/>
                  </a:lnTo>
                  <a:lnTo>
                    <a:pt x="609600" y="934469"/>
                  </a:lnTo>
                  <a:lnTo>
                    <a:pt x="609600" y="1342006"/>
                  </a:lnTo>
                  <a:close/>
                  <a:moveTo>
                    <a:pt x="609600" y="732406"/>
                  </a:moveTo>
                  <a:lnTo>
                    <a:pt x="447675" y="894331"/>
                  </a:lnTo>
                  <a:lnTo>
                    <a:pt x="447675" y="486794"/>
                  </a:lnTo>
                  <a:lnTo>
                    <a:pt x="609600" y="324869"/>
                  </a:lnTo>
                  <a:lnTo>
                    <a:pt x="609600" y="732406"/>
                  </a:lnTo>
                  <a:close/>
                  <a:moveTo>
                    <a:pt x="914400" y="2418331"/>
                  </a:moveTo>
                  <a:lnTo>
                    <a:pt x="752475" y="2256406"/>
                  </a:lnTo>
                  <a:lnTo>
                    <a:pt x="752475" y="1848869"/>
                  </a:lnTo>
                  <a:lnTo>
                    <a:pt x="914400" y="2010794"/>
                  </a:lnTo>
                  <a:lnTo>
                    <a:pt x="914400" y="2418331"/>
                  </a:lnTo>
                  <a:close/>
                  <a:moveTo>
                    <a:pt x="914400" y="1808731"/>
                  </a:moveTo>
                  <a:lnTo>
                    <a:pt x="752475" y="1646806"/>
                  </a:lnTo>
                  <a:lnTo>
                    <a:pt x="752475" y="1239269"/>
                  </a:lnTo>
                  <a:lnTo>
                    <a:pt x="914400" y="1401194"/>
                  </a:lnTo>
                  <a:lnTo>
                    <a:pt x="914400" y="1808731"/>
                  </a:lnTo>
                  <a:close/>
                  <a:moveTo>
                    <a:pt x="914400" y="1199131"/>
                  </a:moveTo>
                  <a:lnTo>
                    <a:pt x="752475" y="1037206"/>
                  </a:lnTo>
                  <a:lnTo>
                    <a:pt x="752475" y="629669"/>
                  </a:lnTo>
                  <a:lnTo>
                    <a:pt x="914400" y="791594"/>
                  </a:lnTo>
                  <a:lnTo>
                    <a:pt x="914400" y="11991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B6FF7B0-934C-42F9-9631-E5943F02C4BD}"/>
                </a:ext>
              </a:extLst>
            </p:cNvPr>
            <p:cNvSpPr/>
            <p:nvPr/>
          </p:nvSpPr>
          <p:spPr>
            <a:xfrm>
              <a:off x="6326187" y="15668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D7730E6-41A8-41D0-9141-6A94BC1B1742}"/>
              </a:ext>
            </a:extLst>
          </p:cNvPr>
          <p:cNvCxnSpPr>
            <a:cxnSpLocks/>
          </p:cNvCxnSpPr>
          <p:nvPr/>
        </p:nvCxnSpPr>
        <p:spPr>
          <a:xfrm flipV="1">
            <a:off x="2474359" y="2699887"/>
            <a:ext cx="918388" cy="57606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owchart: Or 22">
            <a:extLst>
              <a:ext uri="{FF2B5EF4-FFF2-40B4-BE49-F238E27FC236}">
                <a16:creationId xmlns:a16="http://schemas.microsoft.com/office/drawing/2014/main" id="{EFA7A0C7-D12F-45EB-B4BE-B20EDC1BC957}"/>
              </a:ext>
            </a:extLst>
          </p:cNvPr>
          <p:cNvSpPr/>
          <p:nvPr/>
        </p:nvSpPr>
        <p:spPr>
          <a:xfrm>
            <a:off x="2861545" y="2915911"/>
            <a:ext cx="144016" cy="144016"/>
          </a:xfrm>
          <a:prstGeom prst="flowChartOr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3589EFF-749B-4CA5-BEE2-9602756E41DD}"/>
              </a:ext>
            </a:extLst>
          </p:cNvPr>
          <p:cNvSpPr/>
          <p:nvPr/>
        </p:nvSpPr>
        <p:spPr>
          <a:xfrm>
            <a:off x="3381334" y="2637792"/>
            <a:ext cx="72008" cy="7156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3CE7F4-60D2-4A2A-B525-635C5D5039E9}"/>
              </a:ext>
            </a:extLst>
          </p:cNvPr>
          <p:cNvGrpSpPr/>
          <p:nvPr/>
        </p:nvGrpSpPr>
        <p:grpSpPr>
          <a:xfrm rot="5400000">
            <a:off x="3762862" y="2399816"/>
            <a:ext cx="249065" cy="507978"/>
            <a:chOff x="5106987" y="1347788"/>
            <a:chExt cx="1666875" cy="3495675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CCC5BEB-D882-453C-BBD6-5D18109290B7}"/>
                </a:ext>
              </a:extLst>
            </p:cNvPr>
            <p:cNvSpPr/>
            <p:nvPr/>
          </p:nvSpPr>
          <p:spPr>
            <a:xfrm>
              <a:off x="5106987" y="1347788"/>
              <a:ext cx="1666875" cy="3495675"/>
            </a:xfrm>
            <a:custGeom>
              <a:avLst/>
              <a:gdLst>
                <a:gd name="connsiteX0" fmla="*/ 1290638 w 1666875"/>
                <a:gd name="connsiteY0" fmla="*/ 0 h 3495675"/>
                <a:gd name="connsiteX1" fmla="*/ 376238 w 1666875"/>
                <a:gd name="connsiteY1" fmla="*/ 0 h 3495675"/>
                <a:gd name="connsiteX2" fmla="*/ 0 w 1666875"/>
                <a:gd name="connsiteY2" fmla="*/ 376238 h 3495675"/>
                <a:gd name="connsiteX3" fmla="*/ 0 w 1666875"/>
                <a:gd name="connsiteY3" fmla="*/ 3119438 h 3495675"/>
                <a:gd name="connsiteX4" fmla="*/ 376238 w 1666875"/>
                <a:gd name="connsiteY4" fmla="*/ 3495675 h 3495675"/>
                <a:gd name="connsiteX5" fmla="*/ 1290638 w 1666875"/>
                <a:gd name="connsiteY5" fmla="*/ 3495675 h 3495675"/>
                <a:gd name="connsiteX6" fmla="*/ 1666875 w 1666875"/>
                <a:gd name="connsiteY6" fmla="*/ 3119438 h 3495675"/>
                <a:gd name="connsiteX7" fmla="*/ 1666875 w 1666875"/>
                <a:gd name="connsiteY7" fmla="*/ 376238 h 3495675"/>
                <a:gd name="connsiteX8" fmla="*/ 1290638 w 1666875"/>
                <a:gd name="connsiteY8" fmla="*/ 0 h 3495675"/>
                <a:gd name="connsiteX9" fmla="*/ 1524000 w 1666875"/>
                <a:gd name="connsiteY9" fmla="*/ 3119438 h 3495675"/>
                <a:gd name="connsiteX10" fmla="*/ 1290638 w 1666875"/>
                <a:gd name="connsiteY10" fmla="*/ 3352800 h 3495675"/>
                <a:gd name="connsiteX11" fmla="*/ 376238 w 1666875"/>
                <a:gd name="connsiteY11" fmla="*/ 3352800 h 3495675"/>
                <a:gd name="connsiteX12" fmla="*/ 142875 w 1666875"/>
                <a:gd name="connsiteY12" fmla="*/ 3119438 h 3495675"/>
                <a:gd name="connsiteX13" fmla="*/ 142875 w 1666875"/>
                <a:gd name="connsiteY13" fmla="*/ 376238 h 3495675"/>
                <a:gd name="connsiteX14" fmla="*/ 376238 w 1666875"/>
                <a:gd name="connsiteY14" fmla="*/ 142875 h 3495675"/>
                <a:gd name="connsiteX15" fmla="*/ 1290638 w 1666875"/>
                <a:gd name="connsiteY15" fmla="*/ 142875 h 3495675"/>
                <a:gd name="connsiteX16" fmla="*/ 1524000 w 1666875"/>
                <a:gd name="connsiteY16" fmla="*/ 376238 h 3495675"/>
                <a:gd name="connsiteX17" fmla="*/ 1524000 w 1666875"/>
                <a:gd name="connsiteY17" fmla="*/ 3119438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6875" h="3495675">
                  <a:moveTo>
                    <a:pt x="1290638" y="0"/>
                  </a:moveTo>
                  <a:lnTo>
                    <a:pt x="376238" y="0"/>
                  </a:lnTo>
                  <a:cubicBezTo>
                    <a:pt x="168450" y="0"/>
                    <a:pt x="0" y="168450"/>
                    <a:pt x="0" y="376238"/>
                  </a:cubicBezTo>
                  <a:lnTo>
                    <a:pt x="0" y="3119438"/>
                  </a:lnTo>
                  <a:cubicBezTo>
                    <a:pt x="0" y="3327226"/>
                    <a:pt x="168450" y="3495675"/>
                    <a:pt x="376238" y="3495675"/>
                  </a:cubicBezTo>
                  <a:lnTo>
                    <a:pt x="1290638" y="3495675"/>
                  </a:lnTo>
                  <a:cubicBezTo>
                    <a:pt x="1498425" y="3495675"/>
                    <a:pt x="1666875" y="3327226"/>
                    <a:pt x="1666875" y="3119438"/>
                  </a:cubicBezTo>
                  <a:lnTo>
                    <a:pt x="1666875" y="376238"/>
                  </a:lnTo>
                  <a:cubicBezTo>
                    <a:pt x="1666875" y="168450"/>
                    <a:pt x="1498425" y="0"/>
                    <a:pt x="1290638" y="0"/>
                  </a:cubicBezTo>
                  <a:close/>
                  <a:moveTo>
                    <a:pt x="1524000" y="3119438"/>
                  </a:moveTo>
                  <a:cubicBezTo>
                    <a:pt x="1524000" y="3248320"/>
                    <a:pt x="1419520" y="3352800"/>
                    <a:pt x="1290638" y="3352800"/>
                  </a:cubicBezTo>
                  <a:lnTo>
                    <a:pt x="376238" y="3352800"/>
                  </a:lnTo>
                  <a:cubicBezTo>
                    <a:pt x="247355" y="3352800"/>
                    <a:pt x="142875" y="3248320"/>
                    <a:pt x="142875" y="3119438"/>
                  </a:cubicBezTo>
                  <a:lnTo>
                    <a:pt x="142875" y="376238"/>
                  </a:lnTo>
                  <a:cubicBezTo>
                    <a:pt x="142875" y="247355"/>
                    <a:pt x="247355" y="142875"/>
                    <a:pt x="376238" y="142875"/>
                  </a:cubicBezTo>
                  <a:lnTo>
                    <a:pt x="1290638" y="142875"/>
                  </a:lnTo>
                  <a:cubicBezTo>
                    <a:pt x="1419520" y="142875"/>
                    <a:pt x="1524000" y="247355"/>
                    <a:pt x="1524000" y="376238"/>
                  </a:cubicBezTo>
                  <a:lnTo>
                    <a:pt x="1524000" y="311943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3DEDE9-C202-4A6E-9DE0-6B1D3C37C133}"/>
                </a:ext>
              </a:extLst>
            </p:cNvPr>
            <p:cNvSpPr/>
            <p:nvPr/>
          </p:nvSpPr>
          <p:spPr>
            <a:xfrm>
              <a:off x="5411787" y="44624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A79AA51-3F9D-4122-82A9-68FCBB1F92BF}"/>
                </a:ext>
              </a:extLst>
            </p:cNvPr>
            <p:cNvSpPr/>
            <p:nvPr/>
          </p:nvSpPr>
          <p:spPr>
            <a:xfrm>
              <a:off x="5411787" y="1566863"/>
              <a:ext cx="1057275" cy="3048000"/>
            </a:xfrm>
            <a:custGeom>
              <a:avLst/>
              <a:gdLst>
                <a:gd name="connsiteX0" fmla="*/ 914400 w 1057275"/>
                <a:gd name="connsiteY0" fmla="*/ 381000 h 3048000"/>
                <a:gd name="connsiteX1" fmla="*/ 914400 w 1057275"/>
                <a:gd name="connsiteY1" fmla="*/ 589531 h 3048000"/>
                <a:gd name="connsiteX2" fmla="*/ 752475 w 1057275"/>
                <a:gd name="connsiteY2" fmla="*/ 427606 h 3048000"/>
                <a:gd name="connsiteX3" fmla="*/ 752475 w 1057275"/>
                <a:gd name="connsiteY3" fmla="*/ 0 h 3048000"/>
                <a:gd name="connsiteX4" fmla="*/ 609600 w 1057275"/>
                <a:gd name="connsiteY4" fmla="*/ 0 h 3048000"/>
                <a:gd name="connsiteX5" fmla="*/ 609600 w 1057275"/>
                <a:gd name="connsiteY5" fmla="*/ 122806 h 3048000"/>
                <a:gd name="connsiteX6" fmla="*/ 447675 w 1057275"/>
                <a:gd name="connsiteY6" fmla="*/ 284731 h 3048000"/>
                <a:gd name="connsiteX7" fmla="*/ 447675 w 1057275"/>
                <a:gd name="connsiteY7" fmla="*/ 0 h 3048000"/>
                <a:gd name="connsiteX8" fmla="*/ 304800 w 1057275"/>
                <a:gd name="connsiteY8" fmla="*/ 0 h 3048000"/>
                <a:gd name="connsiteX9" fmla="*/ 304800 w 1057275"/>
                <a:gd name="connsiteY9" fmla="*/ 589531 h 3048000"/>
                <a:gd name="connsiteX10" fmla="*/ 142875 w 1057275"/>
                <a:gd name="connsiteY10" fmla="*/ 427606 h 3048000"/>
                <a:gd name="connsiteX11" fmla="*/ 142875 w 1057275"/>
                <a:gd name="connsiteY11" fmla="*/ 0 h 3048000"/>
                <a:gd name="connsiteX12" fmla="*/ 0 w 1057275"/>
                <a:gd name="connsiteY12" fmla="*/ 0 h 3048000"/>
                <a:gd name="connsiteX13" fmla="*/ 0 w 1057275"/>
                <a:gd name="connsiteY13" fmla="*/ 2667000 h 3048000"/>
                <a:gd name="connsiteX14" fmla="*/ 142875 w 1057275"/>
                <a:gd name="connsiteY14" fmla="*/ 2667000 h 3048000"/>
                <a:gd name="connsiteX15" fmla="*/ 142875 w 1057275"/>
                <a:gd name="connsiteY15" fmla="*/ 2458469 h 3048000"/>
                <a:gd name="connsiteX16" fmla="*/ 304800 w 1057275"/>
                <a:gd name="connsiteY16" fmla="*/ 2620394 h 3048000"/>
                <a:gd name="connsiteX17" fmla="*/ 304800 w 1057275"/>
                <a:gd name="connsiteY17" fmla="*/ 3048000 h 3048000"/>
                <a:gd name="connsiteX18" fmla="*/ 447675 w 1057275"/>
                <a:gd name="connsiteY18" fmla="*/ 3048000 h 3048000"/>
                <a:gd name="connsiteX19" fmla="*/ 447675 w 1057275"/>
                <a:gd name="connsiteY19" fmla="*/ 2925194 h 3048000"/>
                <a:gd name="connsiteX20" fmla="*/ 609600 w 1057275"/>
                <a:gd name="connsiteY20" fmla="*/ 2763269 h 3048000"/>
                <a:gd name="connsiteX21" fmla="*/ 609600 w 1057275"/>
                <a:gd name="connsiteY21" fmla="*/ 3048000 h 3048000"/>
                <a:gd name="connsiteX22" fmla="*/ 752475 w 1057275"/>
                <a:gd name="connsiteY22" fmla="*/ 3048000 h 3048000"/>
                <a:gd name="connsiteX23" fmla="*/ 752475 w 1057275"/>
                <a:gd name="connsiteY23" fmla="*/ 2458469 h 3048000"/>
                <a:gd name="connsiteX24" fmla="*/ 914400 w 1057275"/>
                <a:gd name="connsiteY24" fmla="*/ 2620394 h 3048000"/>
                <a:gd name="connsiteX25" fmla="*/ 914400 w 1057275"/>
                <a:gd name="connsiteY25" fmla="*/ 3048000 h 3048000"/>
                <a:gd name="connsiteX26" fmla="*/ 1057275 w 1057275"/>
                <a:gd name="connsiteY26" fmla="*/ 3048000 h 3048000"/>
                <a:gd name="connsiteX27" fmla="*/ 1057275 w 1057275"/>
                <a:gd name="connsiteY27" fmla="*/ 381000 h 3048000"/>
                <a:gd name="connsiteX28" fmla="*/ 914400 w 1057275"/>
                <a:gd name="connsiteY28" fmla="*/ 381000 h 3048000"/>
                <a:gd name="connsiteX29" fmla="*/ 304800 w 1057275"/>
                <a:gd name="connsiteY29" fmla="*/ 2418331 h 3048000"/>
                <a:gd name="connsiteX30" fmla="*/ 142875 w 1057275"/>
                <a:gd name="connsiteY30" fmla="*/ 2256406 h 3048000"/>
                <a:gd name="connsiteX31" fmla="*/ 142875 w 1057275"/>
                <a:gd name="connsiteY31" fmla="*/ 1848869 h 3048000"/>
                <a:gd name="connsiteX32" fmla="*/ 304800 w 1057275"/>
                <a:gd name="connsiteY32" fmla="*/ 2010794 h 3048000"/>
                <a:gd name="connsiteX33" fmla="*/ 304800 w 1057275"/>
                <a:gd name="connsiteY33" fmla="*/ 2418331 h 3048000"/>
                <a:gd name="connsiteX34" fmla="*/ 304800 w 1057275"/>
                <a:gd name="connsiteY34" fmla="*/ 1808731 h 3048000"/>
                <a:gd name="connsiteX35" fmla="*/ 142875 w 1057275"/>
                <a:gd name="connsiteY35" fmla="*/ 1646806 h 3048000"/>
                <a:gd name="connsiteX36" fmla="*/ 142875 w 1057275"/>
                <a:gd name="connsiteY36" fmla="*/ 1239269 h 3048000"/>
                <a:gd name="connsiteX37" fmla="*/ 304800 w 1057275"/>
                <a:gd name="connsiteY37" fmla="*/ 1401194 h 3048000"/>
                <a:gd name="connsiteX38" fmla="*/ 304800 w 1057275"/>
                <a:gd name="connsiteY38" fmla="*/ 1808731 h 3048000"/>
                <a:gd name="connsiteX39" fmla="*/ 304800 w 1057275"/>
                <a:gd name="connsiteY39" fmla="*/ 1199131 h 3048000"/>
                <a:gd name="connsiteX40" fmla="*/ 142875 w 1057275"/>
                <a:gd name="connsiteY40" fmla="*/ 1037206 h 3048000"/>
                <a:gd name="connsiteX41" fmla="*/ 142875 w 1057275"/>
                <a:gd name="connsiteY41" fmla="*/ 629669 h 3048000"/>
                <a:gd name="connsiteX42" fmla="*/ 304800 w 1057275"/>
                <a:gd name="connsiteY42" fmla="*/ 791594 h 3048000"/>
                <a:gd name="connsiteX43" fmla="*/ 304800 w 1057275"/>
                <a:gd name="connsiteY43" fmla="*/ 1199131 h 3048000"/>
                <a:gd name="connsiteX44" fmla="*/ 609600 w 1057275"/>
                <a:gd name="connsiteY44" fmla="*/ 2561206 h 3048000"/>
                <a:gd name="connsiteX45" fmla="*/ 447675 w 1057275"/>
                <a:gd name="connsiteY45" fmla="*/ 2723131 h 3048000"/>
                <a:gd name="connsiteX46" fmla="*/ 447675 w 1057275"/>
                <a:gd name="connsiteY46" fmla="*/ 2315594 h 3048000"/>
                <a:gd name="connsiteX47" fmla="*/ 609600 w 1057275"/>
                <a:gd name="connsiteY47" fmla="*/ 2153669 h 3048000"/>
                <a:gd name="connsiteX48" fmla="*/ 609600 w 1057275"/>
                <a:gd name="connsiteY48" fmla="*/ 2561206 h 3048000"/>
                <a:gd name="connsiteX49" fmla="*/ 609600 w 1057275"/>
                <a:gd name="connsiteY49" fmla="*/ 1951606 h 3048000"/>
                <a:gd name="connsiteX50" fmla="*/ 447675 w 1057275"/>
                <a:gd name="connsiteY50" fmla="*/ 2113531 h 3048000"/>
                <a:gd name="connsiteX51" fmla="*/ 447675 w 1057275"/>
                <a:gd name="connsiteY51" fmla="*/ 1705994 h 3048000"/>
                <a:gd name="connsiteX52" fmla="*/ 609600 w 1057275"/>
                <a:gd name="connsiteY52" fmla="*/ 1544069 h 3048000"/>
                <a:gd name="connsiteX53" fmla="*/ 609600 w 1057275"/>
                <a:gd name="connsiteY53" fmla="*/ 1951606 h 3048000"/>
                <a:gd name="connsiteX54" fmla="*/ 609600 w 1057275"/>
                <a:gd name="connsiteY54" fmla="*/ 1342006 h 3048000"/>
                <a:gd name="connsiteX55" fmla="*/ 447675 w 1057275"/>
                <a:gd name="connsiteY55" fmla="*/ 1503931 h 3048000"/>
                <a:gd name="connsiteX56" fmla="*/ 447675 w 1057275"/>
                <a:gd name="connsiteY56" fmla="*/ 1096394 h 3048000"/>
                <a:gd name="connsiteX57" fmla="*/ 609600 w 1057275"/>
                <a:gd name="connsiteY57" fmla="*/ 934469 h 3048000"/>
                <a:gd name="connsiteX58" fmla="*/ 609600 w 1057275"/>
                <a:gd name="connsiteY58" fmla="*/ 1342006 h 3048000"/>
                <a:gd name="connsiteX59" fmla="*/ 609600 w 1057275"/>
                <a:gd name="connsiteY59" fmla="*/ 732406 h 3048000"/>
                <a:gd name="connsiteX60" fmla="*/ 447675 w 1057275"/>
                <a:gd name="connsiteY60" fmla="*/ 894331 h 3048000"/>
                <a:gd name="connsiteX61" fmla="*/ 447675 w 1057275"/>
                <a:gd name="connsiteY61" fmla="*/ 486794 h 3048000"/>
                <a:gd name="connsiteX62" fmla="*/ 609600 w 1057275"/>
                <a:gd name="connsiteY62" fmla="*/ 324869 h 3048000"/>
                <a:gd name="connsiteX63" fmla="*/ 609600 w 1057275"/>
                <a:gd name="connsiteY63" fmla="*/ 732406 h 3048000"/>
                <a:gd name="connsiteX64" fmla="*/ 914400 w 1057275"/>
                <a:gd name="connsiteY64" fmla="*/ 2418331 h 3048000"/>
                <a:gd name="connsiteX65" fmla="*/ 752475 w 1057275"/>
                <a:gd name="connsiteY65" fmla="*/ 2256406 h 3048000"/>
                <a:gd name="connsiteX66" fmla="*/ 752475 w 1057275"/>
                <a:gd name="connsiteY66" fmla="*/ 1848869 h 3048000"/>
                <a:gd name="connsiteX67" fmla="*/ 914400 w 1057275"/>
                <a:gd name="connsiteY67" fmla="*/ 2010794 h 3048000"/>
                <a:gd name="connsiteX68" fmla="*/ 914400 w 1057275"/>
                <a:gd name="connsiteY68" fmla="*/ 2418331 h 3048000"/>
                <a:gd name="connsiteX69" fmla="*/ 914400 w 1057275"/>
                <a:gd name="connsiteY69" fmla="*/ 1808731 h 3048000"/>
                <a:gd name="connsiteX70" fmla="*/ 752475 w 1057275"/>
                <a:gd name="connsiteY70" fmla="*/ 1646806 h 3048000"/>
                <a:gd name="connsiteX71" fmla="*/ 752475 w 1057275"/>
                <a:gd name="connsiteY71" fmla="*/ 1239269 h 3048000"/>
                <a:gd name="connsiteX72" fmla="*/ 914400 w 1057275"/>
                <a:gd name="connsiteY72" fmla="*/ 1401194 h 3048000"/>
                <a:gd name="connsiteX73" fmla="*/ 914400 w 1057275"/>
                <a:gd name="connsiteY73" fmla="*/ 1808731 h 3048000"/>
                <a:gd name="connsiteX74" fmla="*/ 914400 w 1057275"/>
                <a:gd name="connsiteY74" fmla="*/ 1199131 h 3048000"/>
                <a:gd name="connsiteX75" fmla="*/ 752475 w 1057275"/>
                <a:gd name="connsiteY75" fmla="*/ 1037206 h 3048000"/>
                <a:gd name="connsiteX76" fmla="*/ 752475 w 1057275"/>
                <a:gd name="connsiteY76" fmla="*/ 629669 h 3048000"/>
                <a:gd name="connsiteX77" fmla="*/ 914400 w 1057275"/>
                <a:gd name="connsiteY77" fmla="*/ 791594 h 3048000"/>
                <a:gd name="connsiteX78" fmla="*/ 914400 w 1057275"/>
                <a:gd name="connsiteY78" fmla="*/ 1199131 h 30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057275" h="3048000">
                  <a:moveTo>
                    <a:pt x="914400" y="381000"/>
                  </a:moveTo>
                  <a:lnTo>
                    <a:pt x="914400" y="589531"/>
                  </a:lnTo>
                  <a:lnTo>
                    <a:pt x="752475" y="427606"/>
                  </a:lnTo>
                  <a:lnTo>
                    <a:pt x="752475" y="0"/>
                  </a:lnTo>
                  <a:lnTo>
                    <a:pt x="609600" y="0"/>
                  </a:lnTo>
                  <a:lnTo>
                    <a:pt x="609600" y="122806"/>
                  </a:lnTo>
                  <a:lnTo>
                    <a:pt x="447675" y="284731"/>
                  </a:lnTo>
                  <a:lnTo>
                    <a:pt x="447675" y="0"/>
                  </a:lnTo>
                  <a:lnTo>
                    <a:pt x="304800" y="0"/>
                  </a:lnTo>
                  <a:lnTo>
                    <a:pt x="304800" y="589531"/>
                  </a:lnTo>
                  <a:lnTo>
                    <a:pt x="142875" y="427606"/>
                  </a:lnTo>
                  <a:lnTo>
                    <a:pt x="142875" y="0"/>
                  </a:lnTo>
                  <a:lnTo>
                    <a:pt x="0" y="0"/>
                  </a:lnTo>
                  <a:lnTo>
                    <a:pt x="0" y="2667000"/>
                  </a:lnTo>
                  <a:lnTo>
                    <a:pt x="142875" y="2667000"/>
                  </a:lnTo>
                  <a:lnTo>
                    <a:pt x="142875" y="2458469"/>
                  </a:lnTo>
                  <a:lnTo>
                    <a:pt x="304800" y="2620394"/>
                  </a:lnTo>
                  <a:lnTo>
                    <a:pt x="304800" y="3048000"/>
                  </a:lnTo>
                  <a:lnTo>
                    <a:pt x="447675" y="3048000"/>
                  </a:lnTo>
                  <a:lnTo>
                    <a:pt x="447675" y="2925194"/>
                  </a:lnTo>
                  <a:lnTo>
                    <a:pt x="609600" y="2763269"/>
                  </a:lnTo>
                  <a:lnTo>
                    <a:pt x="609600" y="3048000"/>
                  </a:lnTo>
                  <a:lnTo>
                    <a:pt x="752475" y="3048000"/>
                  </a:lnTo>
                  <a:lnTo>
                    <a:pt x="752475" y="2458469"/>
                  </a:lnTo>
                  <a:lnTo>
                    <a:pt x="914400" y="2620394"/>
                  </a:lnTo>
                  <a:lnTo>
                    <a:pt x="914400" y="3048000"/>
                  </a:lnTo>
                  <a:lnTo>
                    <a:pt x="1057275" y="3048000"/>
                  </a:lnTo>
                  <a:lnTo>
                    <a:pt x="1057275" y="381000"/>
                  </a:lnTo>
                  <a:lnTo>
                    <a:pt x="914400" y="381000"/>
                  </a:lnTo>
                  <a:close/>
                  <a:moveTo>
                    <a:pt x="304800" y="2418331"/>
                  </a:moveTo>
                  <a:lnTo>
                    <a:pt x="142875" y="2256406"/>
                  </a:lnTo>
                  <a:lnTo>
                    <a:pt x="142875" y="1848869"/>
                  </a:lnTo>
                  <a:lnTo>
                    <a:pt x="304800" y="2010794"/>
                  </a:lnTo>
                  <a:lnTo>
                    <a:pt x="304800" y="2418331"/>
                  </a:lnTo>
                  <a:close/>
                  <a:moveTo>
                    <a:pt x="304800" y="1808731"/>
                  </a:moveTo>
                  <a:lnTo>
                    <a:pt x="142875" y="1646806"/>
                  </a:lnTo>
                  <a:lnTo>
                    <a:pt x="142875" y="1239269"/>
                  </a:lnTo>
                  <a:lnTo>
                    <a:pt x="304800" y="1401194"/>
                  </a:lnTo>
                  <a:lnTo>
                    <a:pt x="304800" y="1808731"/>
                  </a:lnTo>
                  <a:close/>
                  <a:moveTo>
                    <a:pt x="304800" y="1199131"/>
                  </a:moveTo>
                  <a:lnTo>
                    <a:pt x="142875" y="1037206"/>
                  </a:lnTo>
                  <a:lnTo>
                    <a:pt x="142875" y="629669"/>
                  </a:lnTo>
                  <a:lnTo>
                    <a:pt x="304800" y="791594"/>
                  </a:lnTo>
                  <a:lnTo>
                    <a:pt x="304800" y="1199131"/>
                  </a:lnTo>
                  <a:close/>
                  <a:moveTo>
                    <a:pt x="609600" y="2561206"/>
                  </a:moveTo>
                  <a:lnTo>
                    <a:pt x="447675" y="2723131"/>
                  </a:lnTo>
                  <a:lnTo>
                    <a:pt x="447675" y="2315594"/>
                  </a:lnTo>
                  <a:lnTo>
                    <a:pt x="609600" y="2153669"/>
                  </a:lnTo>
                  <a:lnTo>
                    <a:pt x="609600" y="2561206"/>
                  </a:lnTo>
                  <a:close/>
                  <a:moveTo>
                    <a:pt x="609600" y="1951606"/>
                  </a:moveTo>
                  <a:lnTo>
                    <a:pt x="447675" y="2113531"/>
                  </a:lnTo>
                  <a:lnTo>
                    <a:pt x="447675" y="1705994"/>
                  </a:lnTo>
                  <a:lnTo>
                    <a:pt x="609600" y="1544069"/>
                  </a:lnTo>
                  <a:lnTo>
                    <a:pt x="609600" y="1951606"/>
                  </a:lnTo>
                  <a:close/>
                  <a:moveTo>
                    <a:pt x="609600" y="1342006"/>
                  </a:moveTo>
                  <a:lnTo>
                    <a:pt x="447675" y="1503931"/>
                  </a:lnTo>
                  <a:lnTo>
                    <a:pt x="447675" y="1096394"/>
                  </a:lnTo>
                  <a:lnTo>
                    <a:pt x="609600" y="934469"/>
                  </a:lnTo>
                  <a:lnTo>
                    <a:pt x="609600" y="1342006"/>
                  </a:lnTo>
                  <a:close/>
                  <a:moveTo>
                    <a:pt x="609600" y="732406"/>
                  </a:moveTo>
                  <a:lnTo>
                    <a:pt x="447675" y="894331"/>
                  </a:lnTo>
                  <a:lnTo>
                    <a:pt x="447675" y="486794"/>
                  </a:lnTo>
                  <a:lnTo>
                    <a:pt x="609600" y="324869"/>
                  </a:lnTo>
                  <a:lnTo>
                    <a:pt x="609600" y="732406"/>
                  </a:lnTo>
                  <a:close/>
                  <a:moveTo>
                    <a:pt x="914400" y="2418331"/>
                  </a:moveTo>
                  <a:lnTo>
                    <a:pt x="752475" y="2256406"/>
                  </a:lnTo>
                  <a:lnTo>
                    <a:pt x="752475" y="1848869"/>
                  </a:lnTo>
                  <a:lnTo>
                    <a:pt x="914400" y="2010794"/>
                  </a:lnTo>
                  <a:lnTo>
                    <a:pt x="914400" y="2418331"/>
                  </a:lnTo>
                  <a:close/>
                  <a:moveTo>
                    <a:pt x="914400" y="1808731"/>
                  </a:moveTo>
                  <a:lnTo>
                    <a:pt x="752475" y="1646806"/>
                  </a:lnTo>
                  <a:lnTo>
                    <a:pt x="752475" y="1239269"/>
                  </a:lnTo>
                  <a:lnTo>
                    <a:pt x="914400" y="1401194"/>
                  </a:lnTo>
                  <a:lnTo>
                    <a:pt x="914400" y="1808731"/>
                  </a:lnTo>
                  <a:close/>
                  <a:moveTo>
                    <a:pt x="914400" y="1199131"/>
                  </a:moveTo>
                  <a:lnTo>
                    <a:pt x="752475" y="1037206"/>
                  </a:lnTo>
                  <a:lnTo>
                    <a:pt x="752475" y="629669"/>
                  </a:lnTo>
                  <a:lnTo>
                    <a:pt x="914400" y="791594"/>
                  </a:lnTo>
                  <a:lnTo>
                    <a:pt x="914400" y="11991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9231813-60A8-4EC7-ADE8-2CEB9B689EF2}"/>
                </a:ext>
              </a:extLst>
            </p:cNvPr>
            <p:cNvSpPr/>
            <p:nvPr/>
          </p:nvSpPr>
          <p:spPr>
            <a:xfrm>
              <a:off x="6326187" y="15668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EABB37D-666E-495C-8346-72E8D373DDB6}"/>
              </a:ext>
            </a:extLst>
          </p:cNvPr>
          <p:cNvCxnSpPr>
            <a:stCxn id="24" idx="6"/>
            <a:endCxn id="28" idx="21"/>
          </p:cNvCxnSpPr>
          <p:nvPr/>
        </p:nvCxnSpPr>
        <p:spPr>
          <a:xfrm flipV="1">
            <a:off x="3453342" y="2665902"/>
            <a:ext cx="213282" cy="767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4199DEB-D8C0-4BAD-A5B1-2C908658E1F6}"/>
              </a:ext>
            </a:extLst>
          </p:cNvPr>
          <p:cNvGrpSpPr/>
          <p:nvPr/>
        </p:nvGrpSpPr>
        <p:grpSpPr>
          <a:xfrm rot="4687937">
            <a:off x="6254259" y="2399816"/>
            <a:ext cx="249065" cy="507978"/>
            <a:chOff x="5106987" y="1347788"/>
            <a:chExt cx="1666875" cy="3495675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694E560-C3C8-4A97-AEAC-86383E7BAF66}"/>
                </a:ext>
              </a:extLst>
            </p:cNvPr>
            <p:cNvSpPr/>
            <p:nvPr/>
          </p:nvSpPr>
          <p:spPr>
            <a:xfrm>
              <a:off x="5106987" y="1347788"/>
              <a:ext cx="1666875" cy="3495675"/>
            </a:xfrm>
            <a:custGeom>
              <a:avLst/>
              <a:gdLst>
                <a:gd name="connsiteX0" fmla="*/ 1290638 w 1666875"/>
                <a:gd name="connsiteY0" fmla="*/ 0 h 3495675"/>
                <a:gd name="connsiteX1" fmla="*/ 376238 w 1666875"/>
                <a:gd name="connsiteY1" fmla="*/ 0 h 3495675"/>
                <a:gd name="connsiteX2" fmla="*/ 0 w 1666875"/>
                <a:gd name="connsiteY2" fmla="*/ 376238 h 3495675"/>
                <a:gd name="connsiteX3" fmla="*/ 0 w 1666875"/>
                <a:gd name="connsiteY3" fmla="*/ 3119438 h 3495675"/>
                <a:gd name="connsiteX4" fmla="*/ 376238 w 1666875"/>
                <a:gd name="connsiteY4" fmla="*/ 3495675 h 3495675"/>
                <a:gd name="connsiteX5" fmla="*/ 1290638 w 1666875"/>
                <a:gd name="connsiteY5" fmla="*/ 3495675 h 3495675"/>
                <a:gd name="connsiteX6" fmla="*/ 1666875 w 1666875"/>
                <a:gd name="connsiteY6" fmla="*/ 3119438 h 3495675"/>
                <a:gd name="connsiteX7" fmla="*/ 1666875 w 1666875"/>
                <a:gd name="connsiteY7" fmla="*/ 376238 h 3495675"/>
                <a:gd name="connsiteX8" fmla="*/ 1290638 w 1666875"/>
                <a:gd name="connsiteY8" fmla="*/ 0 h 3495675"/>
                <a:gd name="connsiteX9" fmla="*/ 1524000 w 1666875"/>
                <a:gd name="connsiteY9" fmla="*/ 3119438 h 3495675"/>
                <a:gd name="connsiteX10" fmla="*/ 1290638 w 1666875"/>
                <a:gd name="connsiteY10" fmla="*/ 3352800 h 3495675"/>
                <a:gd name="connsiteX11" fmla="*/ 376238 w 1666875"/>
                <a:gd name="connsiteY11" fmla="*/ 3352800 h 3495675"/>
                <a:gd name="connsiteX12" fmla="*/ 142875 w 1666875"/>
                <a:gd name="connsiteY12" fmla="*/ 3119438 h 3495675"/>
                <a:gd name="connsiteX13" fmla="*/ 142875 w 1666875"/>
                <a:gd name="connsiteY13" fmla="*/ 376238 h 3495675"/>
                <a:gd name="connsiteX14" fmla="*/ 376238 w 1666875"/>
                <a:gd name="connsiteY14" fmla="*/ 142875 h 3495675"/>
                <a:gd name="connsiteX15" fmla="*/ 1290638 w 1666875"/>
                <a:gd name="connsiteY15" fmla="*/ 142875 h 3495675"/>
                <a:gd name="connsiteX16" fmla="*/ 1524000 w 1666875"/>
                <a:gd name="connsiteY16" fmla="*/ 376238 h 3495675"/>
                <a:gd name="connsiteX17" fmla="*/ 1524000 w 1666875"/>
                <a:gd name="connsiteY17" fmla="*/ 3119438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6875" h="3495675">
                  <a:moveTo>
                    <a:pt x="1290638" y="0"/>
                  </a:moveTo>
                  <a:lnTo>
                    <a:pt x="376238" y="0"/>
                  </a:lnTo>
                  <a:cubicBezTo>
                    <a:pt x="168450" y="0"/>
                    <a:pt x="0" y="168450"/>
                    <a:pt x="0" y="376238"/>
                  </a:cubicBezTo>
                  <a:lnTo>
                    <a:pt x="0" y="3119438"/>
                  </a:lnTo>
                  <a:cubicBezTo>
                    <a:pt x="0" y="3327226"/>
                    <a:pt x="168450" y="3495675"/>
                    <a:pt x="376238" y="3495675"/>
                  </a:cubicBezTo>
                  <a:lnTo>
                    <a:pt x="1290638" y="3495675"/>
                  </a:lnTo>
                  <a:cubicBezTo>
                    <a:pt x="1498425" y="3495675"/>
                    <a:pt x="1666875" y="3327226"/>
                    <a:pt x="1666875" y="3119438"/>
                  </a:cubicBezTo>
                  <a:lnTo>
                    <a:pt x="1666875" y="376238"/>
                  </a:lnTo>
                  <a:cubicBezTo>
                    <a:pt x="1666875" y="168450"/>
                    <a:pt x="1498425" y="0"/>
                    <a:pt x="1290638" y="0"/>
                  </a:cubicBezTo>
                  <a:close/>
                  <a:moveTo>
                    <a:pt x="1524000" y="3119438"/>
                  </a:moveTo>
                  <a:cubicBezTo>
                    <a:pt x="1524000" y="3248320"/>
                    <a:pt x="1419520" y="3352800"/>
                    <a:pt x="1290638" y="3352800"/>
                  </a:cubicBezTo>
                  <a:lnTo>
                    <a:pt x="376238" y="3352800"/>
                  </a:lnTo>
                  <a:cubicBezTo>
                    <a:pt x="247355" y="3352800"/>
                    <a:pt x="142875" y="3248320"/>
                    <a:pt x="142875" y="3119438"/>
                  </a:cubicBezTo>
                  <a:lnTo>
                    <a:pt x="142875" y="376238"/>
                  </a:lnTo>
                  <a:cubicBezTo>
                    <a:pt x="142875" y="247355"/>
                    <a:pt x="247355" y="142875"/>
                    <a:pt x="376238" y="142875"/>
                  </a:cubicBezTo>
                  <a:lnTo>
                    <a:pt x="1290638" y="142875"/>
                  </a:lnTo>
                  <a:cubicBezTo>
                    <a:pt x="1419520" y="142875"/>
                    <a:pt x="1524000" y="247355"/>
                    <a:pt x="1524000" y="376238"/>
                  </a:cubicBezTo>
                  <a:lnTo>
                    <a:pt x="1524000" y="311943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653202F-E4EE-4BB5-B9C0-329F33B1D247}"/>
                </a:ext>
              </a:extLst>
            </p:cNvPr>
            <p:cNvSpPr/>
            <p:nvPr/>
          </p:nvSpPr>
          <p:spPr>
            <a:xfrm>
              <a:off x="5411787" y="44624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2A0A8B6-38D5-4285-BA1E-2525C7C85BBF}"/>
                </a:ext>
              </a:extLst>
            </p:cNvPr>
            <p:cNvSpPr/>
            <p:nvPr/>
          </p:nvSpPr>
          <p:spPr>
            <a:xfrm>
              <a:off x="5411787" y="1566863"/>
              <a:ext cx="1057275" cy="3048000"/>
            </a:xfrm>
            <a:custGeom>
              <a:avLst/>
              <a:gdLst>
                <a:gd name="connsiteX0" fmla="*/ 914400 w 1057275"/>
                <a:gd name="connsiteY0" fmla="*/ 381000 h 3048000"/>
                <a:gd name="connsiteX1" fmla="*/ 914400 w 1057275"/>
                <a:gd name="connsiteY1" fmla="*/ 589531 h 3048000"/>
                <a:gd name="connsiteX2" fmla="*/ 752475 w 1057275"/>
                <a:gd name="connsiteY2" fmla="*/ 427606 h 3048000"/>
                <a:gd name="connsiteX3" fmla="*/ 752475 w 1057275"/>
                <a:gd name="connsiteY3" fmla="*/ 0 h 3048000"/>
                <a:gd name="connsiteX4" fmla="*/ 609600 w 1057275"/>
                <a:gd name="connsiteY4" fmla="*/ 0 h 3048000"/>
                <a:gd name="connsiteX5" fmla="*/ 609600 w 1057275"/>
                <a:gd name="connsiteY5" fmla="*/ 122806 h 3048000"/>
                <a:gd name="connsiteX6" fmla="*/ 447675 w 1057275"/>
                <a:gd name="connsiteY6" fmla="*/ 284731 h 3048000"/>
                <a:gd name="connsiteX7" fmla="*/ 447675 w 1057275"/>
                <a:gd name="connsiteY7" fmla="*/ 0 h 3048000"/>
                <a:gd name="connsiteX8" fmla="*/ 304800 w 1057275"/>
                <a:gd name="connsiteY8" fmla="*/ 0 h 3048000"/>
                <a:gd name="connsiteX9" fmla="*/ 304800 w 1057275"/>
                <a:gd name="connsiteY9" fmla="*/ 589531 h 3048000"/>
                <a:gd name="connsiteX10" fmla="*/ 142875 w 1057275"/>
                <a:gd name="connsiteY10" fmla="*/ 427606 h 3048000"/>
                <a:gd name="connsiteX11" fmla="*/ 142875 w 1057275"/>
                <a:gd name="connsiteY11" fmla="*/ 0 h 3048000"/>
                <a:gd name="connsiteX12" fmla="*/ 0 w 1057275"/>
                <a:gd name="connsiteY12" fmla="*/ 0 h 3048000"/>
                <a:gd name="connsiteX13" fmla="*/ 0 w 1057275"/>
                <a:gd name="connsiteY13" fmla="*/ 2667000 h 3048000"/>
                <a:gd name="connsiteX14" fmla="*/ 142875 w 1057275"/>
                <a:gd name="connsiteY14" fmla="*/ 2667000 h 3048000"/>
                <a:gd name="connsiteX15" fmla="*/ 142875 w 1057275"/>
                <a:gd name="connsiteY15" fmla="*/ 2458469 h 3048000"/>
                <a:gd name="connsiteX16" fmla="*/ 304800 w 1057275"/>
                <a:gd name="connsiteY16" fmla="*/ 2620394 h 3048000"/>
                <a:gd name="connsiteX17" fmla="*/ 304800 w 1057275"/>
                <a:gd name="connsiteY17" fmla="*/ 3048000 h 3048000"/>
                <a:gd name="connsiteX18" fmla="*/ 447675 w 1057275"/>
                <a:gd name="connsiteY18" fmla="*/ 3048000 h 3048000"/>
                <a:gd name="connsiteX19" fmla="*/ 447675 w 1057275"/>
                <a:gd name="connsiteY19" fmla="*/ 2925194 h 3048000"/>
                <a:gd name="connsiteX20" fmla="*/ 609600 w 1057275"/>
                <a:gd name="connsiteY20" fmla="*/ 2763269 h 3048000"/>
                <a:gd name="connsiteX21" fmla="*/ 609600 w 1057275"/>
                <a:gd name="connsiteY21" fmla="*/ 3048000 h 3048000"/>
                <a:gd name="connsiteX22" fmla="*/ 752475 w 1057275"/>
                <a:gd name="connsiteY22" fmla="*/ 3048000 h 3048000"/>
                <a:gd name="connsiteX23" fmla="*/ 752475 w 1057275"/>
                <a:gd name="connsiteY23" fmla="*/ 2458469 h 3048000"/>
                <a:gd name="connsiteX24" fmla="*/ 914400 w 1057275"/>
                <a:gd name="connsiteY24" fmla="*/ 2620394 h 3048000"/>
                <a:gd name="connsiteX25" fmla="*/ 914400 w 1057275"/>
                <a:gd name="connsiteY25" fmla="*/ 3048000 h 3048000"/>
                <a:gd name="connsiteX26" fmla="*/ 1057275 w 1057275"/>
                <a:gd name="connsiteY26" fmla="*/ 3048000 h 3048000"/>
                <a:gd name="connsiteX27" fmla="*/ 1057275 w 1057275"/>
                <a:gd name="connsiteY27" fmla="*/ 381000 h 3048000"/>
                <a:gd name="connsiteX28" fmla="*/ 914400 w 1057275"/>
                <a:gd name="connsiteY28" fmla="*/ 381000 h 3048000"/>
                <a:gd name="connsiteX29" fmla="*/ 304800 w 1057275"/>
                <a:gd name="connsiteY29" fmla="*/ 2418331 h 3048000"/>
                <a:gd name="connsiteX30" fmla="*/ 142875 w 1057275"/>
                <a:gd name="connsiteY30" fmla="*/ 2256406 h 3048000"/>
                <a:gd name="connsiteX31" fmla="*/ 142875 w 1057275"/>
                <a:gd name="connsiteY31" fmla="*/ 1848869 h 3048000"/>
                <a:gd name="connsiteX32" fmla="*/ 304800 w 1057275"/>
                <a:gd name="connsiteY32" fmla="*/ 2010794 h 3048000"/>
                <a:gd name="connsiteX33" fmla="*/ 304800 w 1057275"/>
                <a:gd name="connsiteY33" fmla="*/ 2418331 h 3048000"/>
                <a:gd name="connsiteX34" fmla="*/ 304800 w 1057275"/>
                <a:gd name="connsiteY34" fmla="*/ 1808731 h 3048000"/>
                <a:gd name="connsiteX35" fmla="*/ 142875 w 1057275"/>
                <a:gd name="connsiteY35" fmla="*/ 1646806 h 3048000"/>
                <a:gd name="connsiteX36" fmla="*/ 142875 w 1057275"/>
                <a:gd name="connsiteY36" fmla="*/ 1239269 h 3048000"/>
                <a:gd name="connsiteX37" fmla="*/ 304800 w 1057275"/>
                <a:gd name="connsiteY37" fmla="*/ 1401194 h 3048000"/>
                <a:gd name="connsiteX38" fmla="*/ 304800 w 1057275"/>
                <a:gd name="connsiteY38" fmla="*/ 1808731 h 3048000"/>
                <a:gd name="connsiteX39" fmla="*/ 304800 w 1057275"/>
                <a:gd name="connsiteY39" fmla="*/ 1199131 h 3048000"/>
                <a:gd name="connsiteX40" fmla="*/ 142875 w 1057275"/>
                <a:gd name="connsiteY40" fmla="*/ 1037206 h 3048000"/>
                <a:gd name="connsiteX41" fmla="*/ 142875 w 1057275"/>
                <a:gd name="connsiteY41" fmla="*/ 629669 h 3048000"/>
                <a:gd name="connsiteX42" fmla="*/ 304800 w 1057275"/>
                <a:gd name="connsiteY42" fmla="*/ 791594 h 3048000"/>
                <a:gd name="connsiteX43" fmla="*/ 304800 w 1057275"/>
                <a:gd name="connsiteY43" fmla="*/ 1199131 h 3048000"/>
                <a:gd name="connsiteX44" fmla="*/ 609600 w 1057275"/>
                <a:gd name="connsiteY44" fmla="*/ 2561206 h 3048000"/>
                <a:gd name="connsiteX45" fmla="*/ 447675 w 1057275"/>
                <a:gd name="connsiteY45" fmla="*/ 2723131 h 3048000"/>
                <a:gd name="connsiteX46" fmla="*/ 447675 w 1057275"/>
                <a:gd name="connsiteY46" fmla="*/ 2315594 h 3048000"/>
                <a:gd name="connsiteX47" fmla="*/ 609600 w 1057275"/>
                <a:gd name="connsiteY47" fmla="*/ 2153669 h 3048000"/>
                <a:gd name="connsiteX48" fmla="*/ 609600 w 1057275"/>
                <a:gd name="connsiteY48" fmla="*/ 2561206 h 3048000"/>
                <a:gd name="connsiteX49" fmla="*/ 609600 w 1057275"/>
                <a:gd name="connsiteY49" fmla="*/ 1951606 h 3048000"/>
                <a:gd name="connsiteX50" fmla="*/ 447675 w 1057275"/>
                <a:gd name="connsiteY50" fmla="*/ 2113531 h 3048000"/>
                <a:gd name="connsiteX51" fmla="*/ 447675 w 1057275"/>
                <a:gd name="connsiteY51" fmla="*/ 1705994 h 3048000"/>
                <a:gd name="connsiteX52" fmla="*/ 609600 w 1057275"/>
                <a:gd name="connsiteY52" fmla="*/ 1544069 h 3048000"/>
                <a:gd name="connsiteX53" fmla="*/ 609600 w 1057275"/>
                <a:gd name="connsiteY53" fmla="*/ 1951606 h 3048000"/>
                <a:gd name="connsiteX54" fmla="*/ 609600 w 1057275"/>
                <a:gd name="connsiteY54" fmla="*/ 1342006 h 3048000"/>
                <a:gd name="connsiteX55" fmla="*/ 447675 w 1057275"/>
                <a:gd name="connsiteY55" fmla="*/ 1503931 h 3048000"/>
                <a:gd name="connsiteX56" fmla="*/ 447675 w 1057275"/>
                <a:gd name="connsiteY56" fmla="*/ 1096394 h 3048000"/>
                <a:gd name="connsiteX57" fmla="*/ 609600 w 1057275"/>
                <a:gd name="connsiteY57" fmla="*/ 934469 h 3048000"/>
                <a:gd name="connsiteX58" fmla="*/ 609600 w 1057275"/>
                <a:gd name="connsiteY58" fmla="*/ 1342006 h 3048000"/>
                <a:gd name="connsiteX59" fmla="*/ 609600 w 1057275"/>
                <a:gd name="connsiteY59" fmla="*/ 732406 h 3048000"/>
                <a:gd name="connsiteX60" fmla="*/ 447675 w 1057275"/>
                <a:gd name="connsiteY60" fmla="*/ 894331 h 3048000"/>
                <a:gd name="connsiteX61" fmla="*/ 447675 w 1057275"/>
                <a:gd name="connsiteY61" fmla="*/ 486794 h 3048000"/>
                <a:gd name="connsiteX62" fmla="*/ 609600 w 1057275"/>
                <a:gd name="connsiteY62" fmla="*/ 324869 h 3048000"/>
                <a:gd name="connsiteX63" fmla="*/ 609600 w 1057275"/>
                <a:gd name="connsiteY63" fmla="*/ 732406 h 3048000"/>
                <a:gd name="connsiteX64" fmla="*/ 914400 w 1057275"/>
                <a:gd name="connsiteY64" fmla="*/ 2418331 h 3048000"/>
                <a:gd name="connsiteX65" fmla="*/ 752475 w 1057275"/>
                <a:gd name="connsiteY65" fmla="*/ 2256406 h 3048000"/>
                <a:gd name="connsiteX66" fmla="*/ 752475 w 1057275"/>
                <a:gd name="connsiteY66" fmla="*/ 1848869 h 3048000"/>
                <a:gd name="connsiteX67" fmla="*/ 914400 w 1057275"/>
                <a:gd name="connsiteY67" fmla="*/ 2010794 h 3048000"/>
                <a:gd name="connsiteX68" fmla="*/ 914400 w 1057275"/>
                <a:gd name="connsiteY68" fmla="*/ 2418331 h 3048000"/>
                <a:gd name="connsiteX69" fmla="*/ 914400 w 1057275"/>
                <a:gd name="connsiteY69" fmla="*/ 1808731 h 3048000"/>
                <a:gd name="connsiteX70" fmla="*/ 752475 w 1057275"/>
                <a:gd name="connsiteY70" fmla="*/ 1646806 h 3048000"/>
                <a:gd name="connsiteX71" fmla="*/ 752475 w 1057275"/>
                <a:gd name="connsiteY71" fmla="*/ 1239269 h 3048000"/>
                <a:gd name="connsiteX72" fmla="*/ 914400 w 1057275"/>
                <a:gd name="connsiteY72" fmla="*/ 1401194 h 3048000"/>
                <a:gd name="connsiteX73" fmla="*/ 914400 w 1057275"/>
                <a:gd name="connsiteY73" fmla="*/ 1808731 h 3048000"/>
                <a:gd name="connsiteX74" fmla="*/ 914400 w 1057275"/>
                <a:gd name="connsiteY74" fmla="*/ 1199131 h 3048000"/>
                <a:gd name="connsiteX75" fmla="*/ 752475 w 1057275"/>
                <a:gd name="connsiteY75" fmla="*/ 1037206 h 3048000"/>
                <a:gd name="connsiteX76" fmla="*/ 752475 w 1057275"/>
                <a:gd name="connsiteY76" fmla="*/ 629669 h 3048000"/>
                <a:gd name="connsiteX77" fmla="*/ 914400 w 1057275"/>
                <a:gd name="connsiteY77" fmla="*/ 791594 h 3048000"/>
                <a:gd name="connsiteX78" fmla="*/ 914400 w 1057275"/>
                <a:gd name="connsiteY78" fmla="*/ 1199131 h 30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057275" h="3048000">
                  <a:moveTo>
                    <a:pt x="914400" y="381000"/>
                  </a:moveTo>
                  <a:lnTo>
                    <a:pt x="914400" y="589531"/>
                  </a:lnTo>
                  <a:lnTo>
                    <a:pt x="752475" y="427606"/>
                  </a:lnTo>
                  <a:lnTo>
                    <a:pt x="752475" y="0"/>
                  </a:lnTo>
                  <a:lnTo>
                    <a:pt x="609600" y="0"/>
                  </a:lnTo>
                  <a:lnTo>
                    <a:pt x="609600" y="122806"/>
                  </a:lnTo>
                  <a:lnTo>
                    <a:pt x="447675" y="284731"/>
                  </a:lnTo>
                  <a:lnTo>
                    <a:pt x="447675" y="0"/>
                  </a:lnTo>
                  <a:lnTo>
                    <a:pt x="304800" y="0"/>
                  </a:lnTo>
                  <a:lnTo>
                    <a:pt x="304800" y="589531"/>
                  </a:lnTo>
                  <a:lnTo>
                    <a:pt x="142875" y="427606"/>
                  </a:lnTo>
                  <a:lnTo>
                    <a:pt x="142875" y="0"/>
                  </a:lnTo>
                  <a:lnTo>
                    <a:pt x="0" y="0"/>
                  </a:lnTo>
                  <a:lnTo>
                    <a:pt x="0" y="2667000"/>
                  </a:lnTo>
                  <a:lnTo>
                    <a:pt x="142875" y="2667000"/>
                  </a:lnTo>
                  <a:lnTo>
                    <a:pt x="142875" y="2458469"/>
                  </a:lnTo>
                  <a:lnTo>
                    <a:pt x="304800" y="2620394"/>
                  </a:lnTo>
                  <a:lnTo>
                    <a:pt x="304800" y="3048000"/>
                  </a:lnTo>
                  <a:lnTo>
                    <a:pt x="447675" y="3048000"/>
                  </a:lnTo>
                  <a:lnTo>
                    <a:pt x="447675" y="2925194"/>
                  </a:lnTo>
                  <a:lnTo>
                    <a:pt x="609600" y="2763269"/>
                  </a:lnTo>
                  <a:lnTo>
                    <a:pt x="609600" y="3048000"/>
                  </a:lnTo>
                  <a:lnTo>
                    <a:pt x="752475" y="3048000"/>
                  </a:lnTo>
                  <a:lnTo>
                    <a:pt x="752475" y="2458469"/>
                  </a:lnTo>
                  <a:lnTo>
                    <a:pt x="914400" y="2620394"/>
                  </a:lnTo>
                  <a:lnTo>
                    <a:pt x="914400" y="3048000"/>
                  </a:lnTo>
                  <a:lnTo>
                    <a:pt x="1057275" y="3048000"/>
                  </a:lnTo>
                  <a:lnTo>
                    <a:pt x="1057275" y="381000"/>
                  </a:lnTo>
                  <a:lnTo>
                    <a:pt x="914400" y="381000"/>
                  </a:lnTo>
                  <a:close/>
                  <a:moveTo>
                    <a:pt x="304800" y="2418331"/>
                  </a:moveTo>
                  <a:lnTo>
                    <a:pt x="142875" y="2256406"/>
                  </a:lnTo>
                  <a:lnTo>
                    <a:pt x="142875" y="1848869"/>
                  </a:lnTo>
                  <a:lnTo>
                    <a:pt x="304800" y="2010794"/>
                  </a:lnTo>
                  <a:lnTo>
                    <a:pt x="304800" y="2418331"/>
                  </a:lnTo>
                  <a:close/>
                  <a:moveTo>
                    <a:pt x="304800" y="1808731"/>
                  </a:moveTo>
                  <a:lnTo>
                    <a:pt x="142875" y="1646806"/>
                  </a:lnTo>
                  <a:lnTo>
                    <a:pt x="142875" y="1239269"/>
                  </a:lnTo>
                  <a:lnTo>
                    <a:pt x="304800" y="1401194"/>
                  </a:lnTo>
                  <a:lnTo>
                    <a:pt x="304800" y="1808731"/>
                  </a:lnTo>
                  <a:close/>
                  <a:moveTo>
                    <a:pt x="304800" y="1199131"/>
                  </a:moveTo>
                  <a:lnTo>
                    <a:pt x="142875" y="1037206"/>
                  </a:lnTo>
                  <a:lnTo>
                    <a:pt x="142875" y="629669"/>
                  </a:lnTo>
                  <a:lnTo>
                    <a:pt x="304800" y="791594"/>
                  </a:lnTo>
                  <a:lnTo>
                    <a:pt x="304800" y="1199131"/>
                  </a:lnTo>
                  <a:close/>
                  <a:moveTo>
                    <a:pt x="609600" y="2561206"/>
                  </a:moveTo>
                  <a:lnTo>
                    <a:pt x="447675" y="2723131"/>
                  </a:lnTo>
                  <a:lnTo>
                    <a:pt x="447675" y="2315594"/>
                  </a:lnTo>
                  <a:lnTo>
                    <a:pt x="609600" y="2153669"/>
                  </a:lnTo>
                  <a:lnTo>
                    <a:pt x="609600" y="2561206"/>
                  </a:lnTo>
                  <a:close/>
                  <a:moveTo>
                    <a:pt x="609600" y="1951606"/>
                  </a:moveTo>
                  <a:lnTo>
                    <a:pt x="447675" y="2113531"/>
                  </a:lnTo>
                  <a:lnTo>
                    <a:pt x="447675" y="1705994"/>
                  </a:lnTo>
                  <a:lnTo>
                    <a:pt x="609600" y="1544069"/>
                  </a:lnTo>
                  <a:lnTo>
                    <a:pt x="609600" y="1951606"/>
                  </a:lnTo>
                  <a:close/>
                  <a:moveTo>
                    <a:pt x="609600" y="1342006"/>
                  </a:moveTo>
                  <a:lnTo>
                    <a:pt x="447675" y="1503931"/>
                  </a:lnTo>
                  <a:lnTo>
                    <a:pt x="447675" y="1096394"/>
                  </a:lnTo>
                  <a:lnTo>
                    <a:pt x="609600" y="934469"/>
                  </a:lnTo>
                  <a:lnTo>
                    <a:pt x="609600" y="1342006"/>
                  </a:lnTo>
                  <a:close/>
                  <a:moveTo>
                    <a:pt x="609600" y="732406"/>
                  </a:moveTo>
                  <a:lnTo>
                    <a:pt x="447675" y="894331"/>
                  </a:lnTo>
                  <a:lnTo>
                    <a:pt x="447675" y="486794"/>
                  </a:lnTo>
                  <a:lnTo>
                    <a:pt x="609600" y="324869"/>
                  </a:lnTo>
                  <a:lnTo>
                    <a:pt x="609600" y="732406"/>
                  </a:lnTo>
                  <a:close/>
                  <a:moveTo>
                    <a:pt x="914400" y="2418331"/>
                  </a:moveTo>
                  <a:lnTo>
                    <a:pt x="752475" y="2256406"/>
                  </a:lnTo>
                  <a:lnTo>
                    <a:pt x="752475" y="1848869"/>
                  </a:lnTo>
                  <a:lnTo>
                    <a:pt x="914400" y="2010794"/>
                  </a:lnTo>
                  <a:lnTo>
                    <a:pt x="914400" y="2418331"/>
                  </a:lnTo>
                  <a:close/>
                  <a:moveTo>
                    <a:pt x="914400" y="1808731"/>
                  </a:moveTo>
                  <a:lnTo>
                    <a:pt x="752475" y="1646806"/>
                  </a:lnTo>
                  <a:lnTo>
                    <a:pt x="752475" y="1239269"/>
                  </a:lnTo>
                  <a:lnTo>
                    <a:pt x="914400" y="1401194"/>
                  </a:lnTo>
                  <a:lnTo>
                    <a:pt x="914400" y="1808731"/>
                  </a:lnTo>
                  <a:close/>
                  <a:moveTo>
                    <a:pt x="914400" y="1199131"/>
                  </a:moveTo>
                  <a:lnTo>
                    <a:pt x="752475" y="1037206"/>
                  </a:lnTo>
                  <a:lnTo>
                    <a:pt x="752475" y="629669"/>
                  </a:lnTo>
                  <a:lnTo>
                    <a:pt x="914400" y="791594"/>
                  </a:lnTo>
                  <a:lnTo>
                    <a:pt x="914400" y="11991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D7B5F20-4278-4192-813C-71CA3AA93137}"/>
                </a:ext>
              </a:extLst>
            </p:cNvPr>
            <p:cNvSpPr/>
            <p:nvPr/>
          </p:nvSpPr>
          <p:spPr>
            <a:xfrm>
              <a:off x="6326187" y="15668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BD3E242-555E-47BF-A71F-7D62D1892C58}"/>
              </a:ext>
            </a:extLst>
          </p:cNvPr>
          <p:cNvCxnSpPr>
            <a:stCxn id="35" idx="44"/>
            <a:endCxn id="28" idx="54"/>
          </p:cNvCxnSpPr>
          <p:nvPr/>
        </p:nvCxnSpPr>
        <p:spPr>
          <a:xfrm flipH="1" flipV="1">
            <a:off x="3914533" y="2665902"/>
            <a:ext cx="2319922" cy="3059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lowchart: Or 40">
            <a:extLst>
              <a:ext uri="{FF2B5EF4-FFF2-40B4-BE49-F238E27FC236}">
                <a16:creationId xmlns:a16="http://schemas.microsoft.com/office/drawing/2014/main" id="{A76CA37E-0580-4633-BE32-A6CC671258F2}"/>
              </a:ext>
            </a:extLst>
          </p:cNvPr>
          <p:cNvSpPr/>
          <p:nvPr/>
        </p:nvSpPr>
        <p:spPr>
          <a:xfrm>
            <a:off x="5074494" y="2604538"/>
            <a:ext cx="144016" cy="144016"/>
          </a:xfrm>
          <a:prstGeom prst="flowChartOr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7C4FFE8-B907-4124-B7AC-3561AEA7239B}"/>
              </a:ext>
            </a:extLst>
          </p:cNvPr>
          <p:cNvCxnSpPr>
            <a:cxnSpLocks/>
          </p:cNvCxnSpPr>
          <p:nvPr/>
        </p:nvCxnSpPr>
        <p:spPr>
          <a:xfrm>
            <a:off x="1323375" y="1707654"/>
            <a:ext cx="5912921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CF73467-64DB-4E80-B808-9F7AF9168605}"/>
              </a:ext>
            </a:extLst>
          </p:cNvPr>
          <p:cNvCxnSpPr>
            <a:cxnSpLocks/>
          </p:cNvCxnSpPr>
          <p:nvPr/>
        </p:nvCxnSpPr>
        <p:spPr>
          <a:xfrm>
            <a:off x="1475656" y="1522988"/>
            <a:ext cx="0" cy="256093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76F5CF81-43CB-440D-9548-94AE7631AD8F}"/>
              </a:ext>
            </a:extLst>
          </p:cNvPr>
          <p:cNvSpPr txBox="1"/>
          <p:nvPr/>
        </p:nvSpPr>
        <p:spPr>
          <a:xfrm>
            <a:off x="7236296" y="152298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x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E215B00-DE40-46C0-82D2-84A5217DBC43}"/>
              </a:ext>
            </a:extLst>
          </p:cNvPr>
          <p:cNvSpPr txBox="1"/>
          <p:nvPr/>
        </p:nvSpPr>
        <p:spPr>
          <a:xfrm>
            <a:off x="1173334" y="3800024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y</a:t>
            </a:r>
            <a:endParaRPr lang="en-US" dirty="0"/>
          </a:p>
        </p:txBody>
      </p:sp>
      <p:sp>
        <p:nvSpPr>
          <p:cNvPr id="56" name="Arc 55">
            <a:extLst>
              <a:ext uri="{FF2B5EF4-FFF2-40B4-BE49-F238E27FC236}">
                <a16:creationId xmlns:a16="http://schemas.microsoft.com/office/drawing/2014/main" id="{259A59C2-C7D5-4AFF-AA63-C91AD7CE0667}"/>
              </a:ext>
            </a:extLst>
          </p:cNvPr>
          <p:cNvSpPr/>
          <p:nvPr/>
        </p:nvSpPr>
        <p:spPr>
          <a:xfrm rot="1072984">
            <a:off x="6901251" y="2413006"/>
            <a:ext cx="224359" cy="308555"/>
          </a:xfrm>
          <a:prstGeom prst="arc">
            <a:avLst>
              <a:gd name="adj1" fmla="val 16199989"/>
              <a:gd name="adj2" fmla="val 0"/>
            </a:avLst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3EF62A00-07ED-479C-ACE1-FDABF22C1A54}"/>
                  </a:ext>
                </a:extLst>
              </p:cNvPr>
              <p:cNvSpPr txBox="1"/>
              <p:nvPr/>
            </p:nvSpPr>
            <p:spPr>
              <a:xfrm>
                <a:off x="3019584" y="2612074"/>
                <a:ext cx="30739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3EF62A00-07ED-479C-ACE1-FDABF22C1A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9584" y="2612074"/>
                <a:ext cx="307392" cy="26161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D500ECDD-0140-4E99-A256-32842D558FCF}"/>
                  </a:ext>
                </a:extLst>
              </p:cNvPr>
              <p:cNvSpPr txBox="1"/>
              <p:nvPr/>
            </p:nvSpPr>
            <p:spPr>
              <a:xfrm>
                <a:off x="5562374" y="3037453"/>
                <a:ext cx="36356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D500ECDD-0140-4E99-A256-32842D558F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2374" y="3037453"/>
                <a:ext cx="363561" cy="2616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D0587824-9C49-46DB-A980-C5CD34CB89FF}"/>
                  </a:ext>
                </a:extLst>
              </p:cNvPr>
              <p:cNvSpPr txBox="1"/>
              <p:nvPr/>
            </p:nvSpPr>
            <p:spPr>
              <a:xfrm>
                <a:off x="4410536" y="3035438"/>
                <a:ext cx="3558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D0587824-9C49-46DB-A980-C5CD34CB89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0536" y="3035438"/>
                <a:ext cx="355867" cy="2616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68B8C4D6-AB2A-433F-BA1D-8C8A39641876}"/>
                  </a:ext>
                </a:extLst>
              </p:cNvPr>
              <p:cNvSpPr txBox="1"/>
              <p:nvPr/>
            </p:nvSpPr>
            <p:spPr>
              <a:xfrm>
                <a:off x="4115671" y="3427308"/>
                <a:ext cx="34567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68B8C4D6-AB2A-433F-BA1D-8C8A396418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5671" y="3427308"/>
                <a:ext cx="345671" cy="26161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CA104DD2-44E2-4567-9DBC-E3F7947F4A5D}"/>
                  </a:ext>
                </a:extLst>
              </p:cNvPr>
              <p:cNvSpPr txBox="1"/>
              <p:nvPr/>
            </p:nvSpPr>
            <p:spPr>
              <a:xfrm>
                <a:off x="3489347" y="3035438"/>
                <a:ext cx="3558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CA104DD2-44E2-4567-9DBC-E3F7947F4A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9347" y="3035438"/>
                <a:ext cx="355867" cy="26161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57470B3B-12E8-459C-A68B-F47E90655A69}"/>
                  </a:ext>
                </a:extLst>
              </p:cNvPr>
              <p:cNvSpPr txBox="1"/>
              <p:nvPr/>
            </p:nvSpPr>
            <p:spPr>
              <a:xfrm>
                <a:off x="4968568" y="2065352"/>
                <a:ext cx="32989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57470B3B-12E8-459C-A68B-F47E90655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8568" y="2065352"/>
                <a:ext cx="329899" cy="26161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CCF0ABB-A547-40C5-AAEF-F9F91701B2B7}"/>
                  </a:ext>
                </a:extLst>
              </p:cNvPr>
              <p:cNvSpPr txBox="1"/>
              <p:nvPr/>
            </p:nvSpPr>
            <p:spPr>
              <a:xfrm>
                <a:off x="4542634" y="2404293"/>
                <a:ext cx="6202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sz="11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CCF0ABB-A547-40C5-AAEF-F9F91701B2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2634" y="2404293"/>
                <a:ext cx="620298" cy="261610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13B098D7-EE3D-422C-ABDA-B69D5F978B6F}"/>
                  </a:ext>
                </a:extLst>
              </p:cNvPr>
              <p:cNvSpPr txBox="1"/>
              <p:nvPr/>
            </p:nvSpPr>
            <p:spPr>
              <a:xfrm>
                <a:off x="2681098" y="2226791"/>
                <a:ext cx="36683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13B098D7-EE3D-422C-ABDA-B69D5F978B6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81098" y="2226791"/>
                <a:ext cx="366832" cy="26161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C2D74092-6973-46D3-A1C0-04D36093AAE2}"/>
                  </a:ext>
                </a:extLst>
              </p:cNvPr>
              <p:cNvSpPr txBox="1"/>
              <p:nvPr/>
            </p:nvSpPr>
            <p:spPr>
              <a:xfrm>
                <a:off x="2111721" y="2598711"/>
                <a:ext cx="359136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C2D74092-6973-46D3-A1C0-04D36093AA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1721" y="2598711"/>
                <a:ext cx="359136" cy="26161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6865B67F-BC14-43A2-83FD-718F2A3B2039}"/>
                  </a:ext>
                </a:extLst>
              </p:cNvPr>
              <p:cNvSpPr txBox="1"/>
              <p:nvPr/>
            </p:nvSpPr>
            <p:spPr>
              <a:xfrm>
                <a:off x="2267769" y="2190723"/>
                <a:ext cx="33316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6865B67F-BC14-43A2-83FD-718F2A3B20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7769" y="2190723"/>
                <a:ext cx="333168" cy="261610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1D3FA75-163C-47F4-AC2D-6603091374D1}"/>
                  </a:ext>
                </a:extLst>
              </p:cNvPr>
              <p:cNvSpPr txBox="1"/>
              <p:nvPr/>
            </p:nvSpPr>
            <p:spPr>
              <a:xfrm>
                <a:off x="2608331" y="3031280"/>
                <a:ext cx="62356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sz="11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1D3FA75-163C-47F4-AC2D-6603091374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08331" y="3031280"/>
                <a:ext cx="623568" cy="261610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50" name="Picture 2" descr="Aircraft principal axes - Wikipedia">
            <a:extLst>
              <a:ext uri="{FF2B5EF4-FFF2-40B4-BE49-F238E27FC236}">
                <a16:creationId xmlns:a16="http://schemas.microsoft.com/office/drawing/2014/main" id="{3BE249E2-B214-4E4F-969C-08D18B141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2877" y="2915003"/>
            <a:ext cx="1280328" cy="1059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58156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27AA13F5-ACC2-45AA-858E-3F8BC0F8F68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95289" y="411510"/>
                <a:ext cx="8353425" cy="3744565"/>
              </a:xfrm>
            </p:spPr>
            <p:txBody>
              <a:bodyPr>
                <a:normAutofit lnSpcReduction="10000"/>
              </a:bodyPr>
              <a:lstStyle/>
              <a:p>
                <a:r>
                  <a:rPr lang="es-MX" dirty="0"/>
                  <a:t>In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model</a:t>
                </a:r>
                <a:r>
                  <a:rPr lang="es-MX" dirty="0"/>
                  <a:t>, </a:t>
                </a:r>
                <a:r>
                  <a:rPr lang="es-MX" dirty="0" err="1"/>
                  <a:t>the</a:t>
                </a:r>
                <a:r>
                  <a:rPr lang="es-MX" dirty="0"/>
                  <a:t> tires </a:t>
                </a:r>
                <a:r>
                  <a:rPr lang="es-MX" dirty="0" err="1"/>
                  <a:t>of</a:t>
                </a:r>
                <a:r>
                  <a:rPr lang="es-MX" dirty="0"/>
                  <a:t> </a:t>
                </a:r>
                <a:r>
                  <a:rPr lang="es-MX" dirty="0" err="1"/>
                  <a:t>each</a:t>
                </a:r>
                <a:r>
                  <a:rPr lang="es-MX" dirty="0"/>
                  <a:t> </a:t>
                </a:r>
                <a:r>
                  <a:rPr lang="es-MX" dirty="0" err="1"/>
                  <a:t>axle</a:t>
                </a:r>
                <a:r>
                  <a:rPr lang="es-MX" dirty="0"/>
                  <a:t> are </a:t>
                </a:r>
                <a:r>
                  <a:rPr lang="es-MX" dirty="0" err="1"/>
                  <a:t>represented</a:t>
                </a:r>
                <a:r>
                  <a:rPr lang="es-MX" dirty="0"/>
                  <a:t> as single tire. </a:t>
                </a:r>
                <a:r>
                  <a:rPr lang="es-MX" dirty="0" err="1"/>
                  <a:t>That’s</a:t>
                </a:r>
                <a:r>
                  <a:rPr lang="es-MX" dirty="0"/>
                  <a:t> </a:t>
                </a:r>
                <a:r>
                  <a:rPr lang="es-MX" dirty="0" err="1"/>
                  <a:t>what</a:t>
                </a:r>
                <a:r>
                  <a:rPr lang="es-MX" dirty="0"/>
                  <a:t> si </a:t>
                </a:r>
                <a:r>
                  <a:rPr lang="es-MX" dirty="0" err="1"/>
                  <a:t>called</a:t>
                </a:r>
                <a:r>
                  <a:rPr lang="es-MX" dirty="0"/>
                  <a:t> ‘</a:t>
                </a:r>
                <a:r>
                  <a:rPr lang="es-MX" dirty="0" err="1"/>
                  <a:t>bicycle</a:t>
                </a:r>
                <a:r>
                  <a:rPr lang="es-MX" dirty="0"/>
                  <a:t> </a:t>
                </a:r>
                <a:r>
                  <a:rPr lang="es-MX" dirty="0" err="1"/>
                  <a:t>model</a:t>
                </a:r>
                <a:r>
                  <a:rPr lang="es-MX" dirty="0"/>
                  <a:t>’.</a:t>
                </a:r>
              </a:p>
              <a:p>
                <a:r>
                  <a:rPr lang="es-MX" dirty="0"/>
                  <a:t> Front Wheel </a:t>
                </a:r>
                <a:r>
                  <a:rPr lang="es-MX" dirty="0" err="1"/>
                  <a:t>steering</a:t>
                </a:r>
                <a:r>
                  <a:rPr lang="es-MX" dirty="0"/>
                  <a:t> </a:t>
                </a:r>
                <a:r>
                  <a:rPr lang="es-MX" dirty="0" err="1"/>
                  <a:t>angle</a:t>
                </a:r>
                <a:r>
                  <a:rPr lang="es-MX" dirty="0"/>
                  <a:t> </a:t>
                </a:r>
                <a14:m>
                  <m:oMath xmlns:m="http://schemas.openxmlformats.org/officeDocument/2006/math">
                    <m:r>
                      <a:rPr lang="es-MX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s-MX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</m:oMath>
                </a14:m>
                <a:endParaRPr lang="es-MX" b="0" dirty="0">
                  <a:ea typeface="Cambria Math" panose="02040503050406030204" pitchFamily="18" charset="0"/>
                </a:endParaRPr>
              </a:p>
              <a:p>
                <a:r>
                  <a:rPr lang="en-US" dirty="0"/>
                  <a:t>Hitch angle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</m:oMath>
                </a14:m>
                <a:endParaRPr lang="es-MX" dirty="0">
                  <a:ea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are the masses of the vehicle and trailer, respectively.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re the yaw moments of inertia of the vehicle and trailer respectively yaw axes passing through the center of mass.</a:t>
                </a:r>
              </a:p>
              <a:p>
                <a:r>
                  <a:rPr lang="en-US" dirty="0"/>
                  <a:t> The symbo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, are the distances of the vehicle front and rear axle to the center of mass</a:t>
                </a:r>
              </a:p>
              <a:p>
                <a:r>
                  <a:rPr lang="en-US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, is the distance of the rear axle of the vehicle to the hitch point.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is the distance of the hitch point to the vehicle center of mass. </a:t>
                </a:r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27AA13F5-ACC2-45AA-858E-3F8BC0F8F68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95289" y="411510"/>
                <a:ext cx="8353425" cy="3744565"/>
              </a:xfrm>
              <a:blipFill>
                <a:blip r:embed="rId3"/>
                <a:stretch>
                  <a:fillRect l="-1752" t="-3257" r="-6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FD3330-4C50-4061-98FB-432A83998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FC604D-C19A-4E7D-9BB4-694ABADAF5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0DE67C-5080-4859-BEDA-2D3D2E1209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8719525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61653BB-372C-4470-8AA6-56999768F9C4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95289" y="365432"/>
                <a:ext cx="8353425" cy="3790644"/>
              </a:xfrm>
            </p:spPr>
            <p:txBody>
              <a:bodyPr/>
              <a:lstStyle/>
              <a:p>
                <a:r>
                  <a:rPr lang="es-MX" dirty="0"/>
                  <a:t>Symbol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s-MX" dirty="0"/>
                  <a:t> denote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distances</a:t>
                </a:r>
                <a:r>
                  <a:rPr lang="es-MX" dirty="0"/>
                  <a:t> </a:t>
                </a:r>
                <a:r>
                  <a:rPr lang="es-MX" dirty="0" err="1"/>
                  <a:t>of</a:t>
                </a:r>
                <a:r>
                  <a:rPr lang="es-MX" dirty="0"/>
                  <a:t>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trailer</a:t>
                </a:r>
                <a:r>
                  <a:rPr lang="es-MX" dirty="0"/>
                  <a:t> center </a:t>
                </a:r>
                <a:r>
                  <a:rPr lang="es-MX" dirty="0" err="1"/>
                  <a:t>of</a:t>
                </a:r>
                <a:r>
                  <a:rPr lang="es-MX" dirty="0"/>
                  <a:t> </a:t>
                </a:r>
                <a:r>
                  <a:rPr lang="es-MX" dirty="0" err="1"/>
                  <a:t>mass</a:t>
                </a:r>
                <a:r>
                  <a:rPr lang="es-MX" dirty="0"/>
                  <a:t> </a:t>
                </a:r>
                <a:r>
                  <a:rPr lang="es-MX" dirty="0" err="1"/>
                  <a:t>to</a:t>
                </a:r>
                <a:r>
                  <a:rPr lang="es-MX" dirty="0"/>
                  <a:t>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hitch</a:t>
                </a:r>
                <a:r>
                  <a:rPr lang="es-MX" dirty="0"/>
                  <a:t> </a:t>
                </a:r>
                <a:r>
                  <a:rPr lang="es-MX" dirty="0" err="1"/>
                  <a:t>point</a:t>
                </a:r>
                <a:r>
                  <a:rPr lang="es-MX" dirty="0"/>
                  <a:t> and </a:t>
                </a:r>
                <a:r>
                  <a:rPr lang="es-MX" dirty="0" err="1"/>
                  <a:t>trailer</a:t>
                </a:r>
                <a:r>
                  <a:rPr lang="es-MX" dirty="0"/>
                  <a:t> </a:t>
                </a:r>
                <a:r>
                  <a:rPr lang="es-MX" dirty="0" err="1"/>
                  <a:t>axle</a:t>
                </a:r>
                <a:r>
                  <a:rPr lang="es-MX" dirty="0"/>
                  <a:t>, </a:t>
                </a:r>
                <a:r>
                  <a:rPr lang="es-MX" dirty="0" err="1"/>
                  <a:t>respectively</a:t>
                </a:r>
                <a:r>
                  <a:rPr lang="es-MX" dirty="0"/>
                  <a:t>.</a:t>
                </a:r>
              </a:p>
              <a:p>
                <a:r>
                  <a:rPr lang="es-MX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is the distance of the trailer axle to the hitch point.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are the yaw rates of the vehicle and trailer, respectively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</m:oMath>
                </a14:m>
                <a:r>
                  <a:rPr lang="en-US" dirty="0"/>
                  <a:t> is the longitudinal velocity of vehicle and trailer, under the small angle assumption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𝑦𝑓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𝑦𝑟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𝑦𝑡</m:t>
                        </m:r>
                      </m:sub>
                    </m:sSub>
                  </m:oMath>
                </a14:m>
                <a:r>
                  <a:rPr lang="en-US" dirty="0"/>
                  <a:t> are the lateral tire forces per axle acting at front, rear and trailer axle, respectively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</m:oMath>
                </a14:m>
                <a:r>
                  <a:rPr lang="en-US" dirty="0"/>
                  <a:t> is the hitch force in the lateral direction.</a:t>
                </a:r>
              </a:p>
              <a:p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𝑧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is the yaw moment</a:t>
                </a:r>
              </a:p>
              <a:p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61653BB-372C-4470-8AA6-56999768F9C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95289" y="365432"/>
                <a:ext cx="8353425" cy="3790644"/>
              </a:xfrm>
              <a:blipFill>
                <a:blip r:embed="rId2"/>
                <a:stretch>
                  <a:fillRect l="-1752" t="-2412" r="-1168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CEB578-7CD8-4BF8-B2FA-575E61DC5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76B4F-5B96-4C08-9A24-62185B4131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D31652-1325-4363-A09B-4B5A340983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72694544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91FAA625-96DF-43D4-AAC0-E49E56CEC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n-US" dirty="0"/>
              <a:t>Dynamic equations</a:t>
            </a:r>
            <a:br>
              <a:rPr lang="es-MX" dirty="0"/>
            </a:br>
            <a:endParaRPr lang="es-MX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4C6E67C-A9B5-42EA-B1F2-27A46CA3D1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2434DFE-87DE-4188-B5B3-65B2172ED5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CC6B2C1-040E-412A-A5C9-14A0317FDC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1">
                <a:extLst>
                  <a:ext uri="{FF2B5EF4-FFF2-40B4-BE49-F238E27FC236}">
                    <a16:creationId xmlns:a16="http://schemas.microsoft.com/office/drawing/2014/main" id="{DC96FC68-82EF-43C8-A210-9D883784C15B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95289" y="1171678"/>
                <a:ext cx="8353425" cy="2253382"/>
              </a:xfrm>
            </p:spPr>
            <p:txBody>
              <a:bodyPr>
                <a:noAutofit/>
              </a:bodyPr>
              <a:lstStyle/>
              <a:p>
                <a:pPr marL="0" indent="0">
                  <a:buNone/>
                </a:pPr>
                <a:r>
                  <a:rPr lang="en-US" b="1" dirty="0"/>
                  <a:t>Conditions and assumptions are:</a:t>
                </a:r>
              </a:p>
              <a:p>
                <a:pPr algn="just"/>
                <a:r>
                  <a:rPr lang="en-US" dirty="0"/>
                  <a:t>Effects of aerodynamic drag forces and deceleration on lateral dynamics are ignored.</a:t>
                </a:r>
              </a:p>
              <a:p>
                <a:pPr algn="just"/>
                <a:r>
                  <a:rPr lang="en-US" dirty="0"/>
                  <a:t>Tire slip angles are assumed to be small</a:t>
                </a:r>
              </a:p>
              <a:p>
                <a:pPr algn="just"/>
                <a:r>
                  <a:rPr lang="en-US" dirty="0"/>
                  <a:t>Velocities of vehicle and trailer are the sa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</m:oMath>
                </a14:m>
                <a:endParaRPr lang="es-MX" dirty="0"/>
              </a:p>
              <a:p>
                <a:pPr algn="just"/>
                <a:r>
                  <a:rPr lang="en-US" dirty="0"/>
                  <a:t>Vehicle may be subjected to the yaw mom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∆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resulting from active asymmetric braking of the towing vehicle, which is considered the control input</a:t>
                </a:r>
                <a:br>
                  <a:rPr lang="en-US" dirty="0"/>
                </a:br>
                <a:br>
                  <a:rPr lang="en-US" dirty="0"/>
                </a:br>
                <a:br>
                  <a:rPr lang="en-US" dirty="0"/>
                </a:br>
                <a:br>
                  <a:rPr lang="en-US" dirty="0"/>
                </a:br>
                <a:br>
                  <a:rPr lang="en-US" dirty="0"/>
                </a:br>
                <a:br>
                  <a:rPr lang="es-MX" dirty="0"/>
                </a:br>
                <a:br>
                  <a:rPr lang="es-MX" dirty="0"/>
                </a:br>
                <a:endParaRPr lang="en-US" dirty="0"/>
              </a:p>
            </p:txBody>
          </p:sp>
        </mc:Choice>
        <mc:Fallback xmlns="">
          <p:sp>
            <p:nvSpPr>
              <p:cNvPr id="8" name="Content Placeholder 1">
                <a:extLst>
                  <a:ext uri="{FF2B5EF4-FFF2-40B4-BE49-F238E27FC236}">
                    <a16:creationId xmlns:a16="http://schemas.microsoft.com/office/drawing/2014/main" id="{DC96FC68-82EF-43C8-A210-9D883784C15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95289" y="1171678"/>
                <a:ext cx="8353425" cy="2253382"/>
              </a:xfrm>
              <a:blipFill>
                <a:blip r:embed="rId2"/>
                <a:stretch>
                  <a:fillRect l="-1752" t="-1892" r="-1460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052776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7B5485E-CB22-449A-BB4E-D5E5D0CBC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A670EAD-8CFE-49D9-B5CE-1CC989B4AD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0750D82-9E55-4914-888B-69025614927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0B4A6EE1-C786-4212-947C-54FFE23159C7}"/>
                  </a:ext>
                </a:extLst>
              </p:cNvPr>
              <p:cNvSpPr/>
              <p:nvPr/>
            </p:nvSpPr>
            <p:spPr>
              <a:xfrm>
                <a:off x="4416448" y="1639566"/>
                <a:ext cx="4608512" cy="132940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𝑟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</m:oMath>
                  </m:oMathPara>
                </a14:m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s-MX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</m:acc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𝑟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s-MX" b="0" dirty="0"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</m:acc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𝑦𝑡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0B4A6EE1-C786-4212-947C-54FFE23159C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6448" y="1639566"/>
                <a:ext cx="4608512" cy="13294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ítulo 2">
            <a:extLst>
              <a:ext uri="{FF2B5EF4-FFF2-40B4-BE49-F238E27FC236}">
                <a16:creationId xmlns:a16="http://schemas.microsoft.com/office/drawing/2014/main" id="{528D9115-803E-42C5-8466-64696FA27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n-US" dirty="0"/>
              <a:t>Dynamic equations</a:t>
            </a:r>
            <a:br>
              <a:rPr lang="es-MX" dirty="0"/>
            </a:br>
            <a:endParaRPr lang="es-MX" dirty="0"/>
          </a:p>
        </p:txBody>
      </p:sp>
      <p:sp>
        <p:nvSpPr>
          <p:cNvPr id="12" name="Marcador de contenido 11">
            <a:extLst>
              <a:ext uri="{FF2B5EF4-FFF2-40B4-BE49-F238E27FC236}">
                <a16:creationId xmlns:a16="http://schemas.microsoft.com/office/drawing/2014/main" id="{07EDB329-3D38-406A-8D65-10A09A44D9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782076"/>
            <a:ext cx="8353425" cy="396330"/>
          </a:xfrm>
        </p:spPr>
        <p:txBody>
          <a:bodyPr/>
          <a:lstStyle/>
          <a:p>
            <a:pPr marL="0" indent="0">
              <a:buNone/>
            </a:pPr>
            <a:r>
              <a:rPr lang="es-MX" dirty="0" err="1"/>
              <a:t>The</a:t>
            </a:r>
            <a:r>
              <a:rPr lang="es-MX" dirty="0"/>
              <a:t> </a:t>
            </a:r>
            <a:r>
              <a:rPr lang="es-MX" dirty="0" err="1"/>
              <a:t>equations</a:t>
            </a:r>
            <a:r>
              <a:rPr lang="es-MX" dirty="0"/>
              <a:t> </a:t>
            </a:r>
            <a:r>
              <a:rPr lang="es-MX" dirty="0" err="1"/>
              <a:t>of</a:t>
            </a:r>
            <a:r>
              <a:rPr lang="es-MX" dirty="0"/>
              <a:t> lateral and </a:t>
            </a:r>
            <a:r>
              <a:rPr lang="es-MX" dirty="0" err="1"/>
              <a:t>yaw</a:t>
            </a:r>
            <a:r>
              <a:rPr lang="es-MX" dirty="0"/>
              <a:t> </a:t>
            </a:r>
            <a:r>
              <a:rPr lang="es-MX" dirty="0" err="1"/>
              <a:t>motions</a:t>
            </a:r>
            <a:r>
              <a:rPr lang="es-MX" dirty="0"/>
              <a:t> </a:t>
            </a:r>
            <a:r>
              <a:rPr lang="es-MX" dirty="0" err="1"/>
              <a:t>of</a:t>
            </a:r>
            <a:r>
              <a:rPr lang="es-MX" dirty="0"/>
              <a:t> </a:t>
            </a:r>
            <a:r>
              <a:rPr lang="es-MX" dirty="0" err="1"/>
              <a:t>the</a:t>
            </a:r>
            <a:r>
              <a:rPr lang="es-MX" dirty="0"/>
              <a:t> </a:t>
            </a:r>
            <a:r>
              <a:rPr lang="es-MX" dirty="0" err="1"/>
              <a:t>vehicle</a:t>
            </a:r>
            <a:r>
              <a:rPr lang="es-MX" dirty="0"/>
              <a:t> and </a:t>
            </a:r>
            <a:r>
              <a:rPr lang="es-MX" dirty="0" err="1"/>
              <a:t>trailer</a:t>
            </a:r>
            <a:r>
              <a:rPr lang="es-MX" dirty="0"/>
              <a:t> are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Marcador de contenido 11">
                <a:extLst>
                  <a:ext uri="{FF2B5EF4-FFF2-40B4-BE49-F238E27FC236}">
                    <a16:creationId xmlns:a16="http://schemas.microsoft.com/office/drawing/2014/main" id="{374C0E9B-967D-4DA1-9710-0F22FE208A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81235" y="3963722"/>
                <a:ext cx="7391994" cy="396330"/>
              </a:xfrm>
              <a:prstGeom prst="rect">
                <a:avLst/>
              </a:prstGeom>
            </p:spPr>
            <p:txBody>
              <a:bodyPr vert="horz" lIns="0" tIns="18000" rIns="0" bIns="18000" rtlCol="0">
                <a:normAutofit fontScale="40000" lnSpcReduction="20000"/>
              </a:bodyPr>
              <a:lstStyle>
                <a:lvl1pPr marL="177800" indent="-1778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1pPr>
                <a:lvl2pPr marL="541338" indent="-1841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2pPr>
                <a:lvl3pPr marL="896938" indent="-1778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3pPr>
                <a:lvl4pPr marL="1254125" indent="-179388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4pPr>
                <a:lvl5pPr marL="1616075" indent="-1778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es-MX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sz="4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sz="4000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sz="40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s-MX" sz="40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sz="40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s-MX" sz="4000" dirty="0"/>
                  <a:t> 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sz="4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sz="4000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sz="40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s-MX" sz="400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s-MX" sz="40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4000" dirty="0"/>
                  <a:t>are the lateral accelerations at the vehicle and trailer centers of mass</a:t>
                </a:r>
                <a:br>
                  <a:rPr lang="en-US" dirty="0"/>
                </a:br>
                <a:br>
                  <a:rPr lang="en-US" dirty="0"/>
                </a:br>
                <a:endParaRPr lang="es-MX" dirty="0"/>
              </a:p>
            </p:txBody>
          </p:sp>
        </mc:Choice>
        <mc:Fallback xmlns="">
          <p:sp>
            <p:nvSpPr>
              <p:cNvPr id="13" name="Marcador de contenido 11">
                <a:extLst>
                  <a:ext uri="{FF2B5EF4-FFF2-40B4-BE49-F238E27FC236}">
                    <a16:creationId xmlns:a16="http://schemas.microsoft.com/office/drawing/2014/main" id="{374C0E9B-967D-4DA1-9710-0F22FE208A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1235" y="3963722"/>
                <a:ext cx="7391994" cy="396330"/>
              </a:xfrm>
              <a:prstGeom prst="rect">
                <a:avLst/>
              </a:prstGeom>
              <a:blipFill>
                <a:blip r:embed="rId4"/>
                <a:stretch>
                  <a:fillRect l="-412" t="-21538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upo 13">
            <a:extLst>
              <a:ext uri="{FF2B5EF4-FFF2-40B4-BE49-F238E27FC236}">
                <a16:creationId xmlns:a16="http://schemas.microsoft.com/office/drawing/2014/main" id="{56BC2E61-044C-44DC-BB45-DFFBA9A2DAFB}"/>
              </a:ext>
            </a:extLst>
          </p:cNvPr>
          <p:cNvGrpSpPr/>
          <p:nvPr/>
        </p:nvGrpSpPr>
        <p:grpSpPr>
          <a:xfrm>
            <a:off x="613368" y="1315032"/>
            <a:ext cx="3958632" cy="2264830"/>
            <a:chOff x="1173334" y="1520015"/>
            <a:chExt cx="6363044" cy="2649341"/>
          </a:xfrm>
        </p:grpSpPr>
        <p:sp>
          <p:nvSpPr>
            <p:cNvPr id="15" name="Arc 94">
              <a:extLst>
                <a:ext uri="{FF2B5EF4-FFF2-40B4-BE49-F238E27FC236}">
                  <a16:creationId xmlns:a16="http://schemas.microsoft.com/office/drawing/2014/main" id="{BC4027DE-24FF-49F2-9A7B-AEFD46B9AFE3}"/>
                </a:ext>
              </a:extLst>
            </p:cNvPr>
            <p:cNvSpPr/>
            <p:nvPr/>
          </p:nvSpPr>
          <p:spPr>
            <a:xfrm flipH="1">
              <a:off x="3247553" y="2678333"/>
              <a:ext cx="75113" cy="102922"/>
            </a:xfrm>
            <a:prstGeom prst="arc">
              <a:avLst>
                <a:gd name="adj1" fmla="val 16200000"/>
                <a:gd name="adj2" fmla="val 4436574"/>
              </a:avLst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Straight Connector 49">
              <a:extLst>
                <a:ext uri="{FF2B5EF4-FFF2-40B4-BE49-F238E27FC236}">
                  <a16:creationId xmlns:a16="http://schemas.microsoft.com/office/drawing/2014/main" id="{6EF76E4A-6C2F-421D-9961-7478689FE7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18843" y="2581676"/>
              <a:ext cx="786188" cy="26363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54">
              <a:extLst>
                <a:ext uri="{FF2B5EF4-FFF2-40B4-BE49-F238E27FC236}">
                  <a16:creationId xmlns:a16="http://schemas.microsoft.com/office/drawing/2014/main" id="{BB26E514-F3C4-4076-B2D8-DB2A07458844}"/>
                </a:ext>
              </a:extLst>
            </p:cNvPr>
            <p:cNvCxnSpPr>
              <a:stCxn id="62" idx="7"/>
            </p:cNvCxnSpPr>
            <p:nvPr/>
          </p:nvCxnSpPr>
          <p:spPr>
            <a:xfrm flipV="1">
              <a:off x="6593709" y="2283718"/>
              <a:ext cx="792628" cy="312562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56">
                  <a:extLst>
                    <a:ext uri="{FF2B5EF4-FFF2-40B4-BE49-F238E27FC236}">
                      <a16:creationId xmlns:a16="http://schemas.microsoft.com/office/drawing/2014/main" id="{0AC15B9D-9F81-467D-A688-1257C58C1110}"/>
                    </a:ext>
                  </a:extLst>
                </p:cNvPr>
                <p:cNvSpPr txBox="1"/>
                <p:nvPr/>
              </p:nvSpPr>
              <p:spPr>
                <a:xfrm>
                  <a:off x="7058428" y="2342928"/>
                  <a:ext cx="303993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1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18" name="TextBox 56">
                  <a:extLst>
                    <a:ext uri="{FF2B5EF4-FFF2-40B4-BE49-F238E27FC236}">
                      <a16:creationId xmlns:a16="http://schemas.microsoft.com/office/drawing/2014/main" id="{0AC15B9D-9F81-467D-A688-1257C58C11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58428" y="2342928"/>
                  <a:ext cx="303993" cy="261610"/>
                </a:xfrm>
                <a:prstGeom prst="rect">
                  <a:avLst/>
                </a:prstGeom>
                <a:blipFill>
                  <a:blip r:embed="rId5"/>
                  <a:stretch>
                    <a:fillRect r="-16129" b="-2703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9" name="Straight Connector 58">
              <a:extLst>
                <a:ext uri="{FF2B5EF4-FFF2-40B4-BE49-F238E27FC236}">
                  <a16:creationId xmlns:a16="http://schemas.microsoft.com/office/drawing/2014/main" id="{C9CB7D8D-BA6F-458A-A35F-66C53C8B0973}"/>
                </a:ext>
              </a:extLst>
            </p:cNvPr>
            <p:cNvCxnSpPr>
              <a:cxnSpLocks/>
              <a:stCxn id="43" idx="4"/>
            </p:cNvCxnSpPr>
            <p:nvPr/>
          </p:nvCxnSpPr>
          <p:spPr>
            <a:xfrm>
              <a:off x="5146502" y="2748554"/>
              <a:ext cx="0" cy="736031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0" name="Straight Connector 59">
              <a:extLst>
                <a:ext uri="{FF2B5EF4-FFF2-40B4-BE49-F238E27FC236}">
                  <a16:creationId xmlns:a16="http://schemas.microsoft.com/office/drawing/2014/main" id="{30204451-814B-4FF9-8923-AB1634C77F89}"/>
                </a:ext>
              </a:extLst>
            </p:cNvPr>
            <p:cNvCxnSpPr>
              <a:cxnSpLocks/>
            </p:cNvCxnSpPr>
            <p:nvPr/>
          </p:nvCxnSpPr>
          <p:spPr>
            <a:xfrm>
              <a:off x="3887394" y="2067694"/>
              <a:ext cx="0" cy="1011843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1" name="Straight Connector 60">
              <a:extLst>
                <a:ext uri="{FF2B5EF4-FFF2-40B4-BE49-F238E27FC236}">
                  <a16:creationId xmlns:a16="http://schemas.microsoft.com/office/drawing/2014/main" id="{5151A8FF-A9F9-473D-8771-2F84572804CA}"/>
                </a:ext>
              </a:extLst>
            </p:cNvPr>
            <p:cNvCxnSpPr>
              <a:cxnSpLocks/>
            </p:cNvCxnSpPr>
            <p:nvPr/>
          </p:nvCxnSpPr>
          <p:spPr>
            <a:xfrm>
              <a:off x="3417338" y="2752285"/>
              <a:ext cx="0" cy="732300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2" name="Straight Connector 61">
              <a:extLst>
                <a:ext uri="{FF2B5EF4-FFF2-40B4-BE49-F238E27FC236}">
                  <a16:creationId xmlns:a16="http://schemas.microsoft.com/office/drawing/2014/main" id="{5B0B838F-E59F-45D2-AFA5-A40F834914B8}"/>
                </a:ext>
              </a:extLst>
            </p:cNvPr>
            <p:cNvCxnSpPr>
              <a:cxnSpLocks/>
            </p:cNvCxnSpPr>
            <p:nvPr/>
          </p:nvCxnSpPr>
          <p:spPr>
            <a:xfrm>
              <a:off x="6444208" y="2067694"/>
              <a:ext cx="0" cy="1011843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3" name="Straight Arrow Connector 65">
              <a:extLst>
                <a:ext uri="{FF2B5EF4-FFF2-40B4-BE49-F238E27FC236}">
                  <a16:creationId xmlns:a16="http://schemas.microsoft.com/office/drawing/2014/main" id="{AD96FEB9-286D-476B-98BF-6FB0235D5D3B}"/>
                </a:ext>
              </a:extLst>
            </p:cNvPr>
            <p:cNvCxnSpPr>
              <a:cxnSpLocks/>
            </p:cNvCxnSpPr>
            <p:nvPr/>
          </p:nvCxnSpPr>
          <p:spPr>
            <a:xfrm>
              <a:off x="3887394" y="3059927"/>
              <a:ext cx="1259108" cy="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67">
              <a:extLst>
                <a:ext uri="{FF2B5EF4-FFF2-40B4-BE49-F238E27FC236}">
                  <a16:creationId xmlns:a16="http://schemas.microsoft.com/office/drawing/2014/main" id="{ED96D0B8-14F5-4F66-B923-FB1758C846EB}"/>
                </a:ext>
              </a:extLst>
            </p:cNvPr>
            <p:cNvCxnSpPr>
              <a:cxnSpLocks/>
            </p:cNvCxnSpPr>
            <p:nvPr/>
          </p:nvCxnSpPr>
          <p:spPr>
            <a:xfrm>
              <a:off x="5146502" y="3059927"/>
              <a:ext cx="1297706" cy="1961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70">
              <a:extLst>
                <a:ext uri="{FF2B5EF4-FFF2-40B4-BE49-F238E27FC236}">
                  <a16:creationId xmlns:a16="http://schemas.microsoft.com/office/drawing/2014/main" id="{46660742-119B-4291-B2AE-ED668A8F2198}"/>
                </a:ext>
              </a:extLst>
            </p:cNvPr>
            <p:cNvCxnSpPr/>
            <p:nvPr/>
          </p:nvCxnSpPr>
          <p:spPr>
            <a:xfrm>
              <a:off x="3417338" y="3059927"/>
              <a:ext cx="470056" cy="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72">
              <a:extLst>
                <a:ext uri="{FF2B5EF4-FFF2-40B4-BE49-F238E27FC236}">
                  <a16:creationId xmlns:a16="http://schemas.microsoft.com/office/drawing/2014/main" id="{584916CD-86D1-46BF-BE36-13D0AA4BCEF8}"/>
                </a:ext>
              </a:extLst>
            </p:cNvPr>
            <p:cNvCxnSpPr>
              <a:cxnSpLocks/>
            </p:cNvCxnSpPr>
            <p:nvPr/>
          </p:nvCxnSpPr>
          <p:spPr>
            <a:xfrm>
              <a:off x="3392747" y="3444794"/>
              <a:ext cx="1753755" cy="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76">
              <a:extLst>
                <a:ext uri="{FF2B5EF4-FFF2-40B4-BE49-F238E27FC236}">
                  <a16:creationId xmlns:a16="http://schemas.microsoft.com/office/drawing/2014/main" id="{BC349412-B215-440A-B7B2-42FD1E60CEB3}"/>
                </a:ext>
              </a:extLst>
            </p:cNvPr>
            <p:cNvCxnSpPr>
              <a:cxnSpLocks/>
            </p:cNvCxnSpPr>
            <p:nvPr/>
          </p:nvCxnSpPr>
          <p:spPr>
            <a:xfrm>
              <a:off x="3887394" y="2342928"/>
              <a:ext cx="2556814" cy="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81">
              <a:extLst>
                <a:ext uri="{FF2B5EF4-FFF2-40B4-BE49-F238E27FC236}">
                  <a16:creationId xmlns:a16="http://schemas.microsoft.com/office/drawing/2014/main" id="{3AA1CA06-7383-4EA2-A37F-168FB691CA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922893" y="1930106"/>
              <a:ext cx="494147" cy="779248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9" name="Straight Connector 82">
              <a:extLst>
                <a:ext uri="{FF2B5EF4-FFF2-40B4-BE49-F238E27FC236}">
                  <a16:creationId xmlns:a16="http://schemas.microsoft.com/office/drawing/2014/main" id="{34AEB14E-56B3-40B6-8946-37D02FB21A7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24634" y="2608039"/>
              <a:ext cx="493953" cy="803278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0" name="Straight Connector 83">
              <a:extLst>
                <a:ext uri="{FF2B5EF4-FFF2-40B4-BE49-F238E27FC236}">
                  <a16:creationId xmlns:a16="http://schemas.microsoft.com/office/drawing/2014/main" id="{31AACEB6-0CD1-4860-8323-5BC4C2D035E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604474" y="2493107"/>
              <a:ext cx="285200" cy="425635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1" name="Straight Arrow Connector 85">
              <a:extLst>
                <a:ext uri="{FF2B5EF4-FFF2-40B4-BE49-F238E27FC236}">
                  <a16:creationId xmlns:a16="http://schemas.microsoft.com/office/drawing/2014/main" id="{D4DCB694-EEBF-40D3-85FA-1F2976888ED2}"/>
                </a:ext>
              </a:extLst>
            </p:cNvPr>
            <p:cNvCxnSpPr/>
            <p:nvPr/>
          </p:nvCxnSpPr>
          <p:spPr>
            <a:xfrm flipV="1">
              <a:off x="2032467" y="2630075"/>
              <a:ext cx="667325" cy="449462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87">
              <a:extLst>
                <a:ext uri="{FF2B5EF4-FFF2-40B4-BE49-F238E27FC236}">
                  <a16:creationId xmlns:a16="http://schemas.microsoft.com/office/drawing/2014/main" id="{C62F04A3-8CE3-4982-8CFD-E57B4B25BBFD}"/>
                </a:ext>
              </a:extLst>
            </p:cNvPr>
            <p:cNvCxnSpPr/>
            <p:nvPr/>
          </p:nvCxnSpPr>
          <p:spPr>
            <a:xfrm flipV="1">
              <a:off x="2699792" y="2342928"/>
              <a:ext cx="432346" cy="274423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89">
              <a:extLst>
                <a:ext uri="{FF2B5EF4-FFF2-40B4-BE49-F238E27FC236}">
                  <a16:creationId xmlns:a16="http://schemas.microsoft.com/office/drawing/2014/main" id="{D2A36BAD-E046-471E-963B-6AD09FCF03FA}"/>
                </a:ext>
              </a:extLst>
            </p:cNvPr>
            <p:cNvCxnSpPr/>
            <p:nvPr/>
          </p:nvCxnSpPr>
          <p:spPr>
            <a:xfrm flipV="1">
              <a:off x="1889037" y="2130627"/>
              <a:ext cx="1126240" cy="731301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93">
              <a:extLst>
                <a:ext uri="{FF2B5EF4-FFF2-40B4-BE49-F238E27FC236}">
                  <a16:creationId xmlns:a16="http://schemas.microsoft.com/office/drawing/2014/main" id="{F7D15376-5353-424E-9D4C-57C324B5745D}"/>
                </a:ext>
              </a:extLst>
            </p:cNvPr>
            <p:cNvCxnSpPr>
              <a:stCxn id="38" idx="2"/>
            </p:cNvCxnSpPr>
            <p:nvPr/>
          </p:nvCxnSpPr>
          <p:spPr>
            <a:xfrm flipH="1" flipV="1">
              <a:off x="3059832" y="2673572"/>
              <a:ext cx="32150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14">
              <a:extLst>
                <a:ext uri="{FF2B5EF4-FFF2-40B4-BE49-F238E27FC236}">
                  <a16:creationId xmlns:a16="http://schemas.microsoft.com/office/drawing/2014/main" id="{F33D0004-6DD6-4D3D-9CAA-1E8727AC0480}"/>
                </a:ext>
              </a:extLst>
            </p:cNvPr>
            <p:cNvGrpSpPr/>
            <p:nvPr/>
          </p:nvGrpSpPr>
          <p:grpSpPr>
            <a:xfrm rot="3404244">
              <a:off x="2135859" y="3157706"/>
              <a:ext cx="249065" cy="507978"/>
              <a:chOff x="5106987" y="1347788"/>
              <a:chExt cx="1666875" cy="3495675"/>
            </a:xfrm>
          </p:grpSpPr>
          <p:sp>
            <p:nvSpPr>
              <p:cNvPr id="68" name="Freeform: Shape 10">
                <a:extLst>
                  <a:ext uri="{FF2B5EF4-FFF2-40B4-BE49-F238E27FC236}">
                    <a16:creationId xmlns:a16="http://schemas.microsoft.com/office/drawing/2014/main" id="{DD73B160-3A78-496F-B741-605B5613E8CA}"/>
                  </a:ext>
                </a:extLst>
              </p:cNvPr>
              <p:cNvSpPr/>
              <p:nvPr/>
            </p:nvSpPr>
            <p:spPr>
              <a:xfrm>
                <a:off x="5106987" y="1347788"/>
                <a:ext cx="1666875" cy="3495675"/>
              </a:xfrm>
              <a:custGeom>
                <a:avLst/>
                <a:gdLst>
                  <a:gd name="connsiteX0" fmla="*/ 1290638 w 1666875"/>
                  <a:gd name="connsiteY0" fmla="*/ 0 h 3495675"/>
                  <a:gd name="connsiteX1" fmla="*/ 376238 w 1666875"/>
                  <a:gd name="connsiteY1" fmla="*/ 0 h 3495675"/>
                  <a:gd name="connsiteX2" fmla="*/ 0 w 1666875"/>
                  <a:gd name="connsiteY2" fmla="*/ 376238 h 3495675"/>
                  <a:gd name="connsiteX3" fmla="*/ 0 w 1666875"/>
                  <a:gd name="connsiteY3" fmla="*/ 3119438 h 3495675"/>
                  <a:gd name="connsiteX4" fmla="*/ 376238 w 1666875"/>
                  <a:gd name="connsiteY4" fmla="*/ 3495675 h 3495675"/>
                  <a:gd name="connsiteX5" fmla="*/ 1290638 w 1666875"/>
                  <a:gd name="connsiteY5" fmla="*/ 3495675 h 3495675"/>
                  <a:gd name="connsiteX6" fmla="*/ 1666875 w 1666875"/>
                  <a:gd name="connsiteY6" fmla="*/ 3119438 h 3495675"/>
                  <a:gd name="connsiteX7" fmla="*/ 1666875 w 1666875"/>
                  <a:gd name="connsiteY7" fmla="*/ 376238 h 3495675"/>
                  <a:gd name="connsiteX8" fmla="*/ 1290638 w 1666875"/>
                  <a:gd name="connsiteY8" fmla="*/ 0 h 3495675"/>
                  <a:gd name="connsiteX9" fmla="*/ 1524000 w 1666875"/>
                  <a:gd name="connsiteY9" fmla="*/ 3119438 h 3495675"/>
                  <a:gd name="connsiteX10" fmla="*/ 1290638 w 1666875"/>
                  <a:gd name="connsiteY10" fmla="*/ 3352800 h 3495675"/>
                  <a:gd name="connsiteX11" fmla="*/ 376238 w 1666875"/>
                  <a:gd name="connsiteY11" fmla="*/ 3352800 h 3495675"/>
                  <a:gd name="connsiteX12" fmla="*/ 142875 w 1666875"/>
                  <a:gd name="connsiteY12" fmla="*/ 3119438 h 3495675"/>
                  <a:gd name="connsiteX13" fmla="*/ 142875 w 1666875"/>
                  <a:gd name="connsiteY13" fmla="*/ 376238 h 3495675"/>
                  <a:gd name="connsiteX14" fmla="*/ 376238 w 1666875"/>
                  <a:gd name="connsiteY14" fmla="*/ 142875 h 3495675"/>
                  <a:gd name="connsiteX15" fmla="*/ 1290638 w 1666875"/>
                  <a:gd name="connsiteY15" fmla="*/ 142875 h 3495675"/>
                  <a:gd name="connsiteX16" fmla="*/ 1524000 w 1666875"/>
                  <a:gd name="connsiteY16" fmla="*/ 376238 h 3495675"/>
                  <a:gd name="connsiteX17" fmla="*/ 1524000 w 1666875"/>
                  <a:gd name="connsiteY17" fmla="*/ 3119438 h 3495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66875" h="3495675">
                    <a:moveTo>
                      <a:pt x="1290638" y="0"/>
                    </a:moveTo>
                    <a:lnTo>
                      <a:pt x="376238" y="0"/>
                    </a:lnTo>
                    <a:cubicBezTo>
                      <a:pt x="168450" y="0"/>
                      <a:pt x="0" y="168450"/>
                      <a:pt x="0" y="376238"/>
                    </a:cubicBezTo>
                    <a:lnTo>
                      <a:pt x="0" y="3119438"/>
                    </a:lnTo>
                    <a:cubicBezTo>
                      <a:pt x="0" y="3327226"/>
                      <a:pt x="168450" y="3495675"/>
                      <a:pt x="376238" y="3495675"/>
                    </a:cubicBezTo>
                    <a:lnTo>
                      <a:pt x="1290638" y="3495675"/>
                    </a:lnTo>
                    <a:cubicBezTo>
                      <a:pt x="1498425" y="3495675"/>
                      <a:pt x="1666875" y="3327226"/>
                      <a:pt x="1666875" y="3119438"/>
                    </a:cubicBezTo>
                    <a:lnTo>
                      <a:pt x="1666875" y="376238"/>
                    </a:lnTo>
                    <a:cubicBezTo>
                      <a:pt x="1666875" y="168450"/>
                      <a:pt x="1498425" y="0"/>
                      <a:pt x="1290638" y="0"/>
                    </a:cubicBezTo>
                    <a:close/>
                    <a:moveTo>
                      <a:pt x="1524000" y="3119438"/>
                    </a:moveTo>
                    <a:cubicBezTo>
                      <a:pt x="1524000" y="3248320"/>
                      <a:pt x="1419520" y="3352800"/>
                      <a:pt x="1290638" y="3352800"/>
                    </a:cubicBezTo>
                    <a:lnTo>
                      <a:pt x="376238" y="3352800"/>
                    </a:lnTo>
                    <a:cubicBezTo>
                      <a:pt x="247355" y="3352800"/>
                      <a:pt x="142875" y="3248320"/>
                      <a:pt x="142875" y="3119438"/>
                    </a:cubicBezTo>
                    <a:lnTo>
                      <a:pt x="142875" y="376238"/>
                    </a:lnTo>
                    <a:cubicBezTo>
                      <a:pt x="142875" y="247355"/>
                      <a:pt x="247355" y="142875"/>
                      <a:pt x="376238" y="142875"/>
                    </a:cubicBezTo>
                    <a:lnTo>
                      <a:pt x="1290638" y="142875"/>
                    </a:lnTo>
                    <a:cubicBezTo>
                      <a:pt x="1419520" y="142875"/>
                      <a:pt x="1524000" y="247355"/>
                      <a:pt x="1524000" y="376238"/>
                    </a:cubicBezTo>
                    <a:lnTo>
                      <a:pt x="1524000" y="311943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: Shape 11">
                <a:extLst>
                  <a:ext uri="{FF2B5EF4-FFF2-40B4-BE49-F238E27FC236}">
                    <a16:creationId xmlns:a16="http://schemas.microsoft.com/office/drawing/2014/main" id="{5F8382BE-56E1-44B9-8FE5-2D8F3DE4492A}"/>
                  </a:ext>
                </a:extLst>
              </p:cNvPr>
              <p:cNvSpPr/>
              <p:nvPr/>
            </p:nvSpPr>
            <p:spPr>
              <a:xfrm>
                <a:off x="5411787" y="44624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12">
                <a:extLst>
                  <a:ext uri="{FF2B5EF4-FFF2-40B4-BE49-F238E27FC236}">
                    <a16:creationId xmlns:a16="http://schemas.microsoft.com/office/drawing/2014/main" id="{E4D38158-5E30-4A6A-A395-8B3CA1DDB25A}"/>
                  </a:ext>
                </a:extLst>
              </p:cNvPr>
              <p:cNvSpPr/>
              <p:nvPr/>
            </p:nvSpPr>
            <p:spPr>
              <a:xfrm>
                <a:off x="5411787" y="1566863"/>
                <a:ext cx="1057275" cy="3048000"/>
              </a:xfrm>
              <a:custGeom>
                <a:avLst/>
                <a:gdLst>
                  <a:gd name="connsiteX0" fmla="*/ 914400 w 1057275"/>
                  <a:gd name="connsiteY0" fmla="*/ 381000 h 3048000"/>
                  <a:gd name="connsiteX1" fmla="*/ 914400 w 1057275"/>
                  <a:gd name="connsiteY1" fmla="*/ 589531 h 3048000"/>
                  <a:gd name="connsiteX2" fmla="*/ 752475 w 1057275"/>
                  <a:gd name="connsiteY2" fmla="*/ 427606 h 3048000"/>
                  <a:gd name="connsiteX3" fmla="*/ 752475 w 1057275"/>
                  <a:gd name="connsiteY3" fmla="*/ 0 h 3048000"/>
                  <a:gd name="connsiteX4" fmla="*/ 609600 w 1057275"/>
                  <a:gd name="connsiteY4" fmla="*/ 0 h 3048000"/>
                  <a:gd name="connsiteX5" fmla="*/ 609600 w 1057275"/>
                  <a:gd name="connsiteY5" fmla="*/ 122806 h 3048000"/>
                  <a:gd name="connsiteX6" fmla="*/ 447675 w 1057275"/>
                  <a:gd name="connsiteY6" fmla="*/ 284731 h 3048000"/>
                  <a:gd name="connsiteX7" fmla="*/ 447675 w 1057275"/>
                  <a:gd name="connsiteY7" fmla="*/ 0 h 3048000"/>
                  <a:gd name="connsiteX8" fmla="*/ 304800 w 1057275"/>
                  <a:gd name="connsiteY8" fmla="*/ 0 h 3048000"/>
                  <a:gd name="connsiteX9" fmla="*/ 304800 w 1057275"/>
                  <a:gd name="connsiteY9" fmla="*/ 589531 h 3048000"/>
                  <a:gd name="connsiteX10" fmla="*/ 142875 w 1057275"/>
                  <a:gd name="connsiteY10" fmla="*/ 427606 h 3048000"/>
                  <a:gd name="connsiteX11" fmla="*/ 142875 w 1057275"/>
                  <a:gd name="connsiteY11" fmla="*/ 0 h 3048000"/>
                  <a:gd name="connsiteX12" fmla="*/ 0 w 1057275"/>
                  <a:gd name="connsiteY12" fmla="*/ 0 h 3048000"/>
                  <a:gd name="connsiteX13" fmla="*/ 0 w 1057275"/>
                  <a:gd name="connsiteY13" fmla="*/ 2667000 h 3048000"/>
                  <a:gd name="connsiteX14" fmla="*/ 142875 w 1057275"/>
                  <a:gd name="connsiteY14" fmla="*/ 2667000 h 3048000"/>
                  <a:gd name="connsiteX15" fmla="*/ 142875 w 1057275"/>
                  <a:gd name="connsiteY15" fmla="*/ 2458469 h 3048000"/>
                  <a:gd name="connsiteX16" fmla="*/ 304800 w 1057275"/>
                  <a:gd name="connsiteY16" fmla="*/ 2620394 h 3048000"/>
                  <a:gd name="connsiteX17" fmla="*/ 304800 w 1057275"/>
                  <a:gd name="connsiteY17" fmla="*/ 3048000 h 3048000"/>
                  <a:gd name="connsiteX18" fmla="*/ 447675 w 1057275"/>
                  <a:gd name="connsiteY18" fmla="*/ 3048000 h 3048000"/>
                  <a:gd name="connsiteX19" fmla="*/ 447675 w 1057275"/>
                  <a:gd name="connsiteY19" fmla="*/ 2925194 h 3048000"/>
                  <a:gd name="connsiteX20" fmla="*/ 609600 w 1057275"/>
                  <a:gd name="connsiteY20" fmla="*/ 2763269 h 3048000"/>
                  <a:gd name="connsiteX21" fmla="*/ 609600 w 1057275"/>
                  <a:gd name="connsiteY21" fmla="*/ 3048000 h 3048000"/>
                  <a:gd name="connsiteX22" fmla="*/ 752475 w 1057275"/>
                  <a:gd name="connsiteY22" fmla="*/ 3048000 h 3048000"/>
                  <a:gd name="connsiteX23" fmla="*/ 752475 w 1057275"/>
                  <a:gd name="connsiteY23" fmla="*/ 2458469 h 3048000"/>
                  <a:gd name="connsiteX24" fmla="*/ 914400 w 1057275"/>
                  <a:gd name="connsiteY24" fmla="*/ 2620394 h 3048000"/>
                  <a:gd name="connsiteX25" fmla="*/ 914400 w 1057275"/>
                  <a:gd name="connsiteY25" fmla="*/ 3048000 h 3048000"/>
                  <a:gd name="connsiteX26" fmla="*/ 1057275 w 1057275"/>
                  <a:gd name="connsiteY26" fmla="*/ 3048000 h 3048000"/>
                  <a:gd name="connsiteX27" fmla="*/ 1057275 w 1057275"/>
                  <a:gd name="connsiteY27" fmla="*/ 381000 h 3048000"/>
                  <a:gd name="connsiteX28" fmla="*/ 914400 w 1057275"/>
                  <a:gd name="connsiteY28" fmla="*/ 381000 h 3048000"/>
                  <a:gd name="connsiteX29" fmla="*/ 304800 w 1057275"/>
                  <a:gd name="connsiteY29" fmla="*/ 2418331 h 3048000"/>
                  <a:gd name="connsiteX30" fmla="*/ 142875 w 1057275"/>
                  <a:gd name="connsiteY30" fmla="*/ 2256406 h 3048000"/>
                  <a:gd name="connsiteX31" fmla="*/ 142875 w 1057275"/>
                  <a:gd name="connsiteY31" fmla="*/ 1848869 h 3048000"/>
                  <a:gd name="connsiteX32" fmla="*/ 304800 w 1057275"/>
                  <a:gd name="connsiteY32" fmla="*/ 2010794 h 3048000"/>
                  <a:gd name="connsiteX33" fmla="*/ 304800 w 1057275"/>
                  <a:gd name="connsiteY33" fmla="*/ 2418331 h 3048000"/>
                  <a:gd name="connsiteX34" fmla="*/ 304800 w 1057275"/>
                  <a:gd name="connsiteY34" fmla="*/ 1808731 h 3048000"/>
                  <a:gd name="connsiteX35" fmla="*/ 142875 w 1057275"/>
                  <a:gd name="connsiteY35" fmla="*/ 1646806 h 3048000"/>
                  <a:gd name="connsiteX36" fmla="*/ 142875 w 1057275"/>
                  <a:gd name="connsiteY36" fmla="*/ 1239269 h 3048000"/>
                  <a:gd name="connsiteX37" fmla="*/ 304800 w 1057275"/>
                  <a:gd name="connsiteY37" fmla="*/ 1401194 h 3048000"/>
                  <a:gd name="connsiteX38" fmla="*/ 304800 w 1057275"/>
                  <a:gd name="connsiteY38" fmla="*/ 1808731 h 3048000"/>
                  <a:gd name="connsiteX39" fmla="*/ 304800 w 1057275"/>
                  <a:gd name="connsiteY39" fmla="*/ 1199131 h 3048000"/>
                  <a:gd name="connsiteX40" fmla="*/ 142875 w 1057275"/>
                  <a:gd name="connsiteY40" fmla="*/ 1037206 h 3048000"/>
                  <a:gd name="connsiteX41" fmla="*/ 142875 w 1057275"/>
                  <a:gd name="connsiteY41" fmla="*/ 629669 h 3048000"/>
                  <a:gd name="connsiteX42" fmla="*/ 304800 w 1057275"/>
                  <a:gd name="connsiteY42" fmla="*/ 791594 h 3048000"/>
                  <a:gd name="connsiteX43" fmla="*/ 304800 w 1057275"/>
                  <a:gd name="connsiteY43" fmla="*/ 1199131 h 3048000"/>
                  <a:gd name="connsiteX44" fmla="*/ 609600 w 1057275"/>
                  <a:gd name="connsiteY44" fmla="*/ 2561206 h 3048000"/>
                  <a:gd name="connsiteX45" fmla="*/ 447675 w 1057275"/>
                  <a:gd name="connsiteY45" fmla="*/ 2723131 h 3048000"/>
                  <a:gd name="connsiteX46" fmla="*/ 447675 w 1057275"/>
                  <a:gd name="connsiteY46" fmla="*/ 2315594 h 3048000"/>
                  <a:gd name="connsiteX47" fmla="*/ 609600 w 1057275"/>
                  <a:gd name="connsiteY47" fmla="*/ 2153669 h 3048000"/>
                  <a:gd name="connsiteX48" fmla="*/ 609600 w 1057275"/>
                  <a:gd name="connsiteY48" fmla="*/ 2561206 h 3048000"/>
                  <a:gd name="connsiteX49" fmla="*/ 609600 w 1057275"/>
                  <a:gd name="connsiteY49" fmla="*/ 1951606 h 3048000"/>
                  <a:gd name="connsiteX50" fmla="*/ 447675 w 1057275"/>
                  <a:gd name="connsiteY50" fmla="*/ 2113531 h 3048000"/>
                  <a:gd name="connsiteX51" fmla="*/ 447675 w 1057275"/>
                  <a:gd name="connsiteY51" fmla="*/ 1705994 h 3048000"/>
                  <a:gd name="connsiteX52" fmla="*/ 609600 w 1057275"/>
                  <a:gd name="connsiteY52" fmla="*/ 1544069 h 3048000"/>
                  <a:gd name="connsiteX53" fmla="*/ 609600 w 1057275"/>
                  <a:gd name="connsiteY53" fmla="*/ 1951606 h 3048000"/>
                  <a:gd name="connsiteX54" fmla="*/ 609600 w 1057275"/>
                  <a:gd name="connsiteY54" fmla="*/ 1342006 h 3048000"/>
                  <a:gd name="connsiteX55" fmla="*/ 447675 w 1057275"/>
                  <a:gd name="connsiteY55" fmla="*/ 1503931 h 3048000"/>
                  <a:gd name="connsiteX56" fmla="*/ 447675 w 1057275"/>
                  <a:gd name="connsiteY56" fmla="*/ 1096394 h 3048000"/>
                  <a:gd name="connsiteX57" fmla="*/ 609600 w 1057275"/>
                  <a:gd name="connsiteY57" fmla="*/ 934469 h 3048000"/>
                  <a:gd name="connsiteX58" fmla="*/ 609600 w 1057275"/>
                  <a:gd name="connsiteY58" fmla="*/ 1342006 h 3048000"/>
                  <a:gd name="connsiteX59" fmla="*/ 609600 w 1057275"/>
                  <a:gd name="connsiteY59" fmla="*/ 732406 h 3048000"/>
                  <a:gd name="connsiteX60" fmla="*/ 447675 w 1057275"/>
                  <a:gd name="connsiteY60" fmla="*/ 894331 h 3048000"/>
                  <a:gd name="connsiteX61" fmla="*/ 447675 w 1057275"/>
                  <a:gd name="connsiteY61" fmla="*/ 486794 h 3048000"/>
                  <a:gd name="connsiteX62" fmla="*/ 609600 w 1057275"/>
                  <a:gd name="connsiteY62" fmla="*/ 324869 h 3048000"/>
                  <a:gd name="connsiteX63" fmla="*/ 609600 w 1057275"/>
                  <a:gd name="connsiteY63" fmla="*/ 732406 h 3048000"/>
                  <a:gd name="connsiteX64" fmla="*/ 914400 w 1057275"/>
                  <a:gd name="connsiteY64" fmla="*/ 2418331 h 3048000"/>
                  <a:gd name="connsiteX65" fmla="*/ 752475 w 1057275"/>
                  <a:gd name="connsiteY65" fmla="*/ 2256406 h 3048000"/>
                  <a:gd name="connsiteX66" fmla="*/ 752475 w 1057275"/>
                  <a:gd name="connsiteY66" fmla="*/ 1848869 h 3048000"/>
                  <a:gd name="connsiteX67" fmla="*/ 914400 w 1057275"/>
                  <a:gd name="connsiteY67" fmla="*/ 2010794 h 3048000"/>
                  <a:gd name="connsiteX68" fmla="*/ 914400 w 1057275"/>
                  <a:gd name="connsiteY68" fmla="*/ 2418331 h 3048000"/>
                  <a:gd name="connsiteX69" fmla="*/ 914400 w 1057275"/>
                  <a:gd name="connsiteY69" fmla="*/ 1808731 h 3048000"/>
                  <a:gd name="connsiteX70" fmla="*/ 752475 w 1057275"/>
                  <a:gd name="connsiteY70" fmla="*/ 1646806 h 3048000"/>
                  <a:gd name="connsiteX71" fmla="*/ 752475 w 1057275"/>
                  <a:gd name="connsiteY71" fmla="*/ 1239269 h 3048000"/>
                  <a:gd name="connsiteX72" fmla="*/ 914400 w 1057275"/>
                  <a:gd name="connsiteY72" fmla="*/ 1401194 h 3048000"/>
                  <a:gd name="connsiteX73" fmla="*/ 914400 w 1057275"/>
                  <a:gd name="connsiteY73" fmla="*/ 1808731 h 3048000"/>
                  <a:gd name="connsiteX74" fmla="*/ 914400 w 1057275"/>
                  <a:gd name="connsiteY74" fmla="*/ 1199131 h 3048000"/>
                  <a:gd name="connsiteX75" fmla="*/ 752475 w 1057275"/>
                  <a:gd name="connsiteY75" fmla="*/ 1037206 h 3048000"/>
                  <a:gd name="connsiteX76" fmla="*/ 752475 w 1057275"/>
                  <a:gd name="connsiteY76" fmla="*/ 629669 h 3048000"/>
                  <a:gd name="connsiteX77" fmla="*/ 914400 w 1057275"/>
                  <a:gd name="connsiteY77" fmla="*/ 791594 h 3048000"/>
                  <a:gd name="connsiteX78" fmla="*/ 914400 w 1057275"/>
                  <a:gd name="connsiteY78" fmla="*/ 1199131 h 30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1057275" h="3048000">
                    <a:moveTo>
                      <a:pt x="914400" y="381000"/>
                    </a:moveTo>
                    <a:lnTo>
                      <a:pt x="914400" y="589531"/>
                    </a:lnTo>
                    <a:lnTo>
                      <a:pt x="752475" y="427606"/>
                    </a:lnTo>
                    <a:lnTo>
                      <a:pt x="752475" y="0"/>
                    </a:lnTo>
                    <a:lnTo>
                      <a:pt x="609600" y="0"/>
                    </a:lnTo>
                    <a:lnTo>
                      <a:pt x="609600" y="122806"/>
                    </a:lnTo>
                    <a:lnTo>
                      <a:pt x="447675" y="284731"/>
                    </a:lnTo>
                    <a:lnTo>
                      <a:pt x="447675" y="0"/>
                    </a:lnTo>
                    <a:lnTo>
                      <a:pt x="304800" y="0"/>
                    </a:lnTo>
                    <a:lnTo>
                      <a:pt x="304800" y="589531"/>
                    </a:lnTo>
                    <a:lnTo>
                      <a:pt x="142875" y="427606"/>
                    </a:lnTo>
                    <a:lnTo>
                      <a:pt x="142875" y="0"/>
                    </a:lnTo>
                    <a:lnTo>
                      <a:pt x="0" y="0"/>
                    </a:lnTo>
                    <a:lnTo>
                      <a:pt x="0" y="2667000"/>
                    </a:lnTo>
                    <a:lnTo>
                      <a:pt x="142875" y="2667000"/>
                    </a:lnTo>
                    <a:lnTo>
                      <a:pt x="142875" y="2458469"/>
                    </a:lnTo>
                    <a:lnTo>
                      <a:pt x="304800" y="2620394"/>
                    </a:lnTo>
                    <a:lnTo>
                      <a:pt x="304800" y="3048000"/>
                    </a:lnTo>
                    <a:lnTo>
                      <a:pt x="447675" y="3048000"/>
                    </a:lnTo>
                    <a:lnTo>
                      <a:pt x="447675" y="2925194"/>
                    </a:lnTo>
                    <a:lnTo>
                      <a:pt x="609600" y="2763269"/>
                    </a:lnTo>
                    <a:lnTo>
                      <a:pt x="609600" y="3048000"/>
                    </a:lnTo>
                    <a:lnTo>
                      <a:pt x="752475" y="3048000"/>
                    </a:lnTo>
                    <a:lnTo>
                      <a:pt x="752475" y="2458469"/>
                    </a:lnTo>
                    <a:lnTo>
                      <a:pt x="914400" y="2620394"/>
                    </a:lnTo>
                    <a:lnTo>
                      <a:pt x="914400" y="3048000"/>
                    </a:lnTo>
                    <a:lnTo>
                      <a:pt x="1057275" y="3048000"/>
                    </a:lnTo>
                    <a:lnTo>
                      <a:pt x="1057275" y="381000"/>
                    </a:lnTo>
                    <a:lnTo>
                      <a:pt x="914400" y="381000"/>
                    </a:lnTo>
                    <a:close/>
                    <a:moveTo>
                      <a:pt x="304800" y="2418331"/>
                    </a:moveTo>
                    <a:lnTo>
                      <a:pt x="142875" y="2256406"/>
                    </a:lnTo>
                    <a:lnTo>
                      <a:pt x="142875" y="1848869"/>
                    </a:lnTo>
                    <a:lnTo>
                      <a:pt x="304800" y="2010794"/>
                    </a:lnTo>
                    <a:lnTo>
                      <a:pt x="304800" y="2418331"/>
                    </a:lnTo>
                    <a:close/>
                    <a:moveTo>
                      <a:pt x="304800" y="1808731"/>
                    </a:moveTo>
                    <a:lnTo>
                      <a:pt x="142875" y="1646806"/>
                    </a:lnTo>
                    <a:lnTo>
                      <a:pt x="142875" y="1239269"/>
                    </a:lnTo>
                    <a:lnTo>
                      <a:pt x="304800" y="1401194"/>
                    </a:lnTo>
                    <a:lnTo>
                      <a:pt x="304800" y="1808731"/>
                    </a:lnTo>
                    <a:close/>
                    <a:moveTo>
                      <a:pt x="304800" y="1199131"/>
                    </a:moveTo>
                    <a:lnTo>
                      <a:pt x="142875" y="1037206"/>
                    </a:lnTo>
                    <a:lnTo>
                      <a:pt x="142875" y="629669"/>
                    </a:lnTo>
                    <a:lnTo>
                      <a:pt x="304800" y="791594"/>
                    </a:lnTo>
                    <a:lnTo>
                      <a:pt x="304800" y="1199131"/>
                    </a:lnTo>
                    <a:close/>
                    <a:moveTo>
                      <a:pt x="609600" y="2561206"/>
                    </a:moveTo>
                    <a:lnTo>
                      <a:pt x="447675" y="2723131"/>
                    </a:lnTo>
                    <a:lnTo>
                      <a:pt x="447675" y="2315594"/>
                    </a:lnTo>
                    <a:lnTo>
                      <a:pt x="609600" y="2153669"/>
                    </a:lnTo>
                    <a:lnTo>
                      <a:pt x="609600" y="2561206"/>
                    </a:lnTo>
                    <a:close/>
                    <a:moveTo>
                      <a:pt x="609600" y="1951606"/>
                    </a:moveTo>
                    <a:lnTo>
                      <a:pt x="447675" y="2113531"/>
                    </a:lnTo>
                    <a:lnTo>
                      <a:pt x="447675" y="1705994"/>
                    </a:lnTo>
                    <a:lnTo>
                      <a:pt x="609600" y="1544069"/>
                    </a:lnTo>
                    <a:lnTo>
                      <a:pt x="609600" y="1951606"/>
                    </a:lnTo>
                    <a:close/>
                    <a:moveTo>
                      <a:pt x="609600" y="1342006"/>
                    </a:moveTo>
                    <a:lnTo>
                      <a:pt x="447675" y="1503931"/>
                    </a:lnTo>
                    <a:lnTo>
                      <a:pt x="447675" y="1096394"/>
                    </a:lnTo>
                    <a:lnTo>
                      <a:pt x="609600" y="934469"/>
                    </a:lnTo>
                    <a:lnTo>
                      <a:pt x="609600" y="1342006"/>
                    </a:lnTo>
                    <a:close/>
                    <a:moveTo>
                      <a:pt x="609600" y="732406"/>
                    </a:moveTo>
                    <a:lnTo>
                      <a:pt x="447675" y="894331"/>
                    </a:lnTo>
                    <a:lnTo>
                      <a:pt x="447675" y="486794"/>
                    </a:lnTo>
                    <a:lnTo>
                      <a:pt x="609600" y="324869"/>
                    </a:lnTo>
                    <a:lnTo>
                      <a:pt x="609600" y="732406"/>
                    </a:lnTo>
                    <a:close/>
                    <a:moveTo>
                      <a:pt x="914400" y="2418331"/>
                    </a:moveTo>
                    <a:lnTo>
                      <a:pt x="752475" y="2256406"/>
                    </a:lnTo>
                    <a:lnTo>
                      <a:pt x="752475" y="1848869"/>
                    </a:lnTo>
                    <a:lnTo>
                      <a:pt x="914400" y="2010794"/>
                    </a:lnTo>
                    <a:lnTo>
                      <a:pt x="914400" y="2418331"/>
                    </a:lnTo>
                    <a:close/>
                    <a:moveTo>
                      <a:pt x="914400" y="1808731"/>
                    </a:moveTo>
                    <a:lnTo>
                      <a:pt x="752475" y="1646806"/>
                    </a:lnTo>
                    <a:lnTo>
                      <a:pt x="752475" y="1239269"/>
                    </a:lnTo>
                    <a:lnTo>
                      <a:pt x="914400" y="1401194"/>
                    </a:lnTo>
                    <a:lnTo>
                      <a:pt x="914400" y="1808731"/>
                    </a:lnTo>
                    <a:close/>
                    <a:moveTo>
                      <a:pt x="914400" y="1199131"/>
                    </a:moveTo>
                    <a:lnTo>
                      <a:pt x="752475" y="1037206"/>
                    </a:lnTo>
                    <a:lnTo>
                      <a:pt x="752475" y="629669"/>
                    </a:lnTo>
                    <a:lnTo>
                      <a:pt x="914400" y="791594"/>
                    </a:lnTo>
                    <a:lnTo>
                      <a:pt x="914400" y="1199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: Shape 13">
                <a:extLst>
                  <a:ext uri="{FF2B5EF4-FFF2-40B4-BE49-F238E27FC236}">
                    <a16:creationId xmlns:a16="http://schemas.microsoft.com/office/drawing/2014/main" id="{E89A58F3-E2DA-4F3D-BC00-5225D09F861F}"/>
                  </a:ext>
                </a:extLst>
              </p:cNvPr>
              <p:cNvSpPr/>
              <p:nvPr/>
            </p:nvSpPr>
            <p:spPr>
              <a:xfrm>
                <a:off x="6326187" y="15668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36" name="Straight Connector 20">
              <a:extLst>
                <a:ext uri="{FF2B5EF4-FFF2-40B4-BE49-F238E27FC236}">
                  <a16:creationId xmlns:a16="http://schemas.microsoft.com/office/drawing/2014/main" id="{5325530C-08E3-4088-8B31-D188E1A6DB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74359" y="2699887"/>
              <a:ext cx="918388" cy="576064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Flowchart: Or 22">
              <a:extLst>
                <a:ext uri="{FF2B5EF4-FFF2-40B4-BE49-F238E27FC236}">
                  <a16:creationId xmlns:a16="http://schemas.microsoft.com/office/drawing/2014/main" id="{3B6BE846-AF79-45C6-80C9-A6173B8CBD0D}"/>
                </a:ext>
              </a:extLst>
            </p:cNvPr>
            <p:cNvSpPr/>
            <p:nvPr/>
          </p:nvSpPr>
          <p:spPr>
            <a:xfrm>
              <a:off x="2861545" y="2915911"/>
              <a:ext cx="144016" cy="144016"/>
            </a:xfrm>
            <a:prstGeom prst="flowChartOr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8" name="Oval 23">
              <a:extLst>
                <a:ext uri="{FF2B5EF4-FFF2-40B4-BE49-F238E27FC236}">
                  <a16:creationId xmlns:a16="http://schemas.microsoft.com/office/drawing/2014/main" id="{8691C2A9-97BA-4343-98B2-BEBFD63E4FD8}"/>
                </a:ext>
              </a:extLst>
            </p:cNvPr>
            <p:cNvSpPr/>
            <p:nvPr/>
          </p:nvSpPr>
          <p:spPr>
            <a:xfrm>
              <a:off x="3381334" y="2637792"/>
              <a:ext cx="72008" cy="71561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grpSp>
          <p:nvGrpSpPr>
            <p:cNvPr id="39" name="Group 24">
              <a:extLst>
                <a:ext uri="{FF2B5EF4-FFF2-40B4-BE49-F238E27FC236}">
                  <a16:creationId xmlns:a16="http://schemas.microsoft.com/office/drawing/2014/main" id="{B0532A69-F92D-466A-8B0B-DBBAAA304C88}"/>
                </a:ext>
              </a:extLst>
            </p:cNvPr>
            <p:cNvGrpSpPr/>
            <p:nvPr/>
          </p:nvGrpSpPr>
          <p:grpSpPr>
            <a:xfrm rot="5400000">
              <a:off x="3762862" y="2399816"/>
              <a:ext cx="249065" cy="507978"/>
              <a:chOff x="5106987" y="1347788"/>
              <a:chExt cx="1666875" cy="3495675"/>
            </a:xfrm>
          </p:grpSpPr>
          <p:sp>
            <p:nvSpPr>
              <p:cNvPr id="64" name="Freeform: Shape 25">
                <a:extLst>
                  <a:ext uri="{FF2B5EF4-FFF2-40B4-BE49-F238E27FC236}">
                    <a16:creationId xmlns:a16="http://schemas.microsoft.com/office/drawing/2014/main" id="{28229A48-AB5E-45C5-9E06-4D431C4C9CB2}"/>
                  </a:ext>
                </a:extLst>
              </p:cNvPr>
              <p:cNvSpPr/>
              <p:nvPr/>
            </p:nvSpPr>
            <p:spPr>
              <a:xfrm>
                <a:off x="5106987" y="1347788"/>
                <a:ext cx="1666875" cy="3495675"/>
              </a:xfrm>
              <a:custGeom>
                <a:avLst/>
                <a:gdLst>
                  <a:gd name="connsiteX0" fmla="*/ 1290638 w 1666875"/>
                  <a:gd name="connsiteY0" fmla="*/ 0 h 3495675"/>
                  <a:gd name="connsiteX1" fmla="*/ 376238 w 1666875"/>
                  <a:gd name="connsiteY1" fmla="*/ 0 h 3495675"/>
                  <a:gd name="connsiteX2" fmla="*/ 0 w 1666875"/>
                  <a:gd name="connsiteY2" fmla="*/ 376238 h 3495675"/>
                  <a:gd name="connsiteX3" fmla="*/ 0 w 1666875"/>
                  <a:gd name="connsiteY3" fmla="*/ 3119438 h 3495675"/>
                  <a:gd name="connsiteX4" fmla="*/ 376238 w 1666875"/>
                  <a:gd name="connsiteY4" fmla="*/ 3495675 h 3495675"/>
                  <a:gd name="connsiteX5" fmla="*/ 1290638 w 1666875"/>
                  <a:gd name="connsiteY5" fmla="*/ 3495675 h 3495675"/>
                  <a:gd name="connsiteX6" fmla="*/ 1666875 w 1666875"/>
                  <a:gd name="connsiteY6" fmla="*/ 3119438 h 3495675"/>
                  <a:gd name="connsiteX7" fmla="*/ 1666875 w 1666875"/>
                  <a:gd name="connsiteY7" fmla="*/ 376238 h 3495675"/>
                  <a:gd name="connsiteX8" fmla="*/ 1290638 w 1666875"/>
                  <a:gd name="connsiteY8" fmla="*/ 0 h 3495675"/>
                  <a:gd name="connsiteX9" fmla="*/ 1524000 w 1666875"/>
                  <a:gd name="connsiteY9" fmla="*/ 3119438 h 3495675"/>
                  <a:gd name="connsiteX10" fmla="*/ 1290638 w 1666875"/>
                  <a:gd name="connsiteY10" fmla="*/ 3352800 h 3495675"/>
                  <a:gd name="connsiteX11" fmla="*/ 376238 w 1666875"/>
                  <a:gd name="connsiteY11" fmla="*/ 3352800 h 3495675"/>
                  <a:gd name="connsiteX12" fmla="*/ 142875 w 1666875"/>
                  <a:gd name="connsiteY12" fmla="*/ 3119438 h 3495675"/>
                  <a:gd name="connsiteX13" fmla="*/ 142875 w 1666875"/>
                  <a:gd name="connsiteY13" fmla="*/ 376238 h 3495675"/>
                  <a:gd name="connsiteX14" fmla="*/ 376238 w 1666875"/>
                  <a:gd name="connsiteY14" fmla="*/ 142875 h 3495675"/>
                  <a:gd name="connsiteX15" fmla="*/ 1290638 w 1666875"/>
                  <a:gd name="connsiteY15" fmla="*/ 142875 h 3495675"/>
                  <a:gd name="connsiteX16" fmla="*/ 1524000 w 1666875"/>
                  <a:gd name="connsiteY16" fmla="*/ 376238 h 3495675"/>
                  <a:gd name="connsiteX17" fmla="*/ 1524000 w 1666875"/>
                  <a:gd name="connsiteY17" fmla="*/ 3119438 h 3495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66875" h="3495675">
                    <a:moveTo>
                      <a:pt x="1290638" y="0"/>
                    </a:moveTo>
                    <a:lnTo>
                      <a:pt x="376238" y="0"/>
                    </a:lnTo>
                    <a:cubicBezTo>
                      <a:pt x="168450" y="0"/>
                      <a:pt x="0" y="168450"/>
                      <a:pt x="0" y="376238"/>
                    </a:cubicBezTo>
                    <a:lnTo>
                      <a:pt x="0" y="3119438"/>
                    </a:lnTo>
                    <a:cubicBezTo>
                      <a:pt x="0" y="3327226"/>
                      <a:pt x="168450" y="3495675"/>
                      <a:pt x="376238" y="3495675"/>
                    </a:cubicBezTo>
                    <a:lnTo>
                      <a:pt x="1290638" y="3495675"/>
                    </a:lnTo>
                    <a:cubicBezTo>
                      <a:pt x="1498425" y="3495675"/>
                      <a:pt x="1666875" y="3327226"/>
                      <a:pt x="1666875" y="3119438"/>
                    </a:cubicBezTo>
                    <a:lnTo>
                      <a:pt x="1666875" y="376238"/>
                    </a:lnTo>
                    <a:cubicBezTo>
                      <a:pt x="1666875" y="168450"/>
                      <a:pt x="1498425" y="0"/>
                      <a:pt x="1290638" y="0"/>
                    </a:cubicBezTo>
                    <a:close/>
                    <a:moveTo>
                      <a:pt x="1524000" y="3119438"/>
                    </a:moveTo>
                    <a:cubicBezTo>
                      <a:pt x="1524000" y="3248320"/>
                      <a:pt x="1419520" y="3352800"/>
                      <a:pt x="1290638" y="3352800"/>
                    </a:cubicBezTo>
                    <a:lnTo>
                      <a:pt x="376238" y="3352800"/>
                    </a:lnTo>
                    <a:cubicBezTo>
                      <a:pt x="247355" y="3352800"/>
                      <a:pt x="142875" y="3248320"/>
                      <a:pt x="142875" y="3119438"/>
                    </a:cubicBezTo>
                    <a:lnTo>
                      <a:pt x="142875" y="376238"/>
                    </a:lnTo>
                    <a:cubicBezTo>
                      <a:pt x="142875" y="247355"/>
                      <a:pt x="247355" y="142875"/>
                      <a:pt x="376238" y="142875"/>
                    </a:cubicBezTo>
                    <a:lnTo>
                      <a:pt x="1290638" y="142875"/>
                    </a:lnTo>
                    <a:cubicBezTo>
                      <a:pt x="1419520" y="142875"/>
                      <a:pt x="1524000" y="247355"/>
                      <a:pt x="1524000" y="376238"/>
                    </a:cubicBezTo>
                    <a:lnTo>
                      <a:pt x="1524000" y="311943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: Shape 26">
                <a:extLst>
                  <a:ext uri="{FF2B5EF4-FFF2-40B4-BE49-F238E27FC236}">
                    <a16:creationId xmlns:a16="http://schemas.microsoft.com/office/drawing/2014/main" id="{A60CB195-F16C-443C-B6F3-4D0FAF3573B2}"/>
                  </a:ext>
                </a:extLst>
              </p:cNvPr>
              <p:cNvSpPr/>
              <p:nvPr/>
            </p:nvSpPr>
            <p:spPr>
              <a:xfrm>
                <a:off x="5411787" y="44624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: Shape 27">
                <a:extLst>
                  <a:ext uri="{FF2B5EF4-FFF2-40B4-BE49-F238E27FC236}">
                    <a16:creationId xmlns:a16="http://schemas.microsoft.com/office/drawing/2014/main" id="{6A5181D4-5569-4637-9294-91CEC17FFE36}"/>
                  </a:ext>
                </a:extLst>
              </p:cNvPr>
              <p:cNvSpPr/>
              <p:nvPr/>
            </p:nvSpPr>
            <p:spPr>
              <a:xfrm>
                <a:off x="5411787" y="1566863"/>
                <a:ext cx="1057275" cy="3048000"/>
              </a:xfrm>
              <a:custGeom>
                <a:avLst/>
                <a:gdLst>
                  <a:gd name="connsiteX0" fmla="*/ 914400 w 1057275"/>
                  <a:gd name="connsiteY0" fmla="*/ 381000 h 3048000"/>
                  <a:gd name="connsiteX1" fmla="*/ 914400 w 1057275"/>
                  <a:gd name="connsiteY1" fmla="*/ 589531 h 3048000"/>
                  <a:gd name="connsiteX2" fmla="*/ 752475 w 1057275"/>
                  <a:gd name="connsiteY2" fmla="*/ 427606 h 3048000"/>
                  <a:gd name="connsiteX3" fmla="*/ 752475 w 1057275"/>
                  <a:gd name="connsiteY3" fmla="*/ 0 h 3048000"/>
                  <a:gd name="connsiteX4" fmla="*/ 609600 w 1057275"/>
                  <a:gd name="connsiteY4" fmla="*/ 0 h 3048000"/>
                  <a:gd name="connsiteX5" fmla="*/ 609600 w 1057275"/>
                  <a:gd name="connsiteY5" fmla="*/ 122806 h 3048000"/>
                  <a:gd name="connsiteX6" fmla="*/ 447675 w 1057275"/>
                  <a:gd name="connsiteY6" fmla="*/ 284731 h 3048000"/>
                  <a:gd name="connsiteX7" fmla="*/ 447675 w 1057275"/>
                  <a:gd name="connsiteY7" fmla="*/ 0 h 3048000"/>
                  <a:gd name="connsiteX8" fmla="*/ 304800 w 1057275"/>
                  <a:gd name="connsiteY8" fmla="*/ 0 h 3048000"/>
                  <a:gd name="connsiteX9" fmla="*/ 304800 w 1057275"/>
                  <a:gd name="connsiteY9" fmla="*/ 589531 h 3048000"/>
                  <a:gd name="connsiteX10" fmla="*/ 142875 w 1057275"/>
                  <a:gd name="connsiteY10" fmla="*/ 427606 h 3048000"/>
                  <a:gd name="connsiteX11" fmla="*/ 142875 w 1057275"/>
                  <a:gd name="connsiteY11" fmla="*/ 0 h 3048000"/>
                  <a:gd name="connsiteX12" fmla="*/ 0 w 1057275"/>
                  <a:gd name="connsiteY12" fmla="*/ 0 h 3048000"/>
                  <a:gd name="connsiteX13" fmla="*/ 0 w 1057275"/>
                  <a:gd name="connsiteY13" fmla="*/ 2667000 h 3048000"/>
                  <a:gd name="connsiteX14" fmla="*/ 142875 w 1057275"/>
                  <a:gd name="connsiteY14" fmla="*/ 2667000 h 3048000"/>
                  <a:gd name="connsiteX15" fmla="*/ 142875 w 1057275"/>
                  <a:gd name="connsiteY15" fmla="*/ 2458469 h 3048000"/>
                  <a:gd name="connsiteX16" fmla="*/ 304800 w 1057275"/>
                  <a:gd name="connsiteY16" fmla="*/ 2620394 h 3048000"/>
                  <a:gd name="connsiteX17" fmla="*/ 304800 w 1057275"/>
                  <a:gd name="connsiteY17" fmla="*/ 3048000 h 3048000"/>
                  <a:gd name="connsiteX18" fmla="*/ 447675 w 1057275"/>
                  <a:gd name="connsiteY18" fmla="*/ 3048000 h 3048000"/>
                  <a:gd name="connsiteX19" fmla="*/ 447675 w 1057275"/>
                  <a:gd name="connsiteY19" fmla="*/ 2925194 h 3048000"/>
                  <a:gd name="connsiteX20" fmla="*/ 609600 w 1057275"/>
                  <a:gd name="connsiteY20" fmla="*/ 2763269 h 3048000"/>
                  <a:gd name="connsiteX21" fmla="*/ 609600 w 1057275"/>
                  <a:gd name="connsiteY21" fmla="*/ 3048000 h 3048000"/>
                  <a:gd name="connsiteX22" fmla="*/ 752475 w 1057275"/>
                  <a:gd name="connsiteY22" fmla="*/ 3048000 h 3048000"/>
                  <a:gd name="connsiteX23" fmla="*/ 752475 w 1057275"/>
                  <a:gd name="connsiteY23" fmla="*/ 2458469 h 3048000"/>
                  <a:gd name="connsiteX24" fmla="*/ 914400 w 1057275"/>
                  <a:gd name="connsiteY24" fmla="*/ 2620394 h 3048000"/>
                  <a:gd name="connsiteX25" fmla="*/ 914400 w 1057275"/>
                  <a:gd name="connsiteY25" fmla="*/ 3048000 h 3048000"/>
                  <a:gd name="connsiteX26" fmla="*/ 1057275 w 1057275"/>
                  <a:gd name="connsiteY26" fmla="*/ 3048000 h 3048000"/>
                  <a:gd name="connsiteX27" fmla="*/ 1057275 w 1057275"/>
                  <a:gd name="connsiteY27" fmla="*/ 381000 h 3048000"/>
                  <a:gd name="connsiteX28" fmla="*/ 914400 w 1057275"/>
                  <a:gd name="connsiteY28" fmla="*/ 381000 h 3048000"/>
                  <a:gd name="connsiteX29" fmla="*/ 304800 w 1057275"/>
                  <a:gd name="connsiteY29" fmla="*/ 2418331 h 3048000"/>
                  <a:gd name="connsiteX30" fmla="*/ 142875 w 1057275"/>
                  <a:gd name="connsiteY30" fmla="*/ 2256406 h 3048000"/>
                  <a:gd name="connsiteX31" fmla="*/ 142875 w 1057275"/>
                  <a:gd name="connsiteY31" fmla="*/ 1848869 h 3048000"/>
                  <a:gd name="connsiteX32" fmla="*/ 304800 w 1057275"/>
                  <a:gd name="connsiteY32" fmla="*/ 2010794 h 3048000"/>
                  <a:gd name="connsiteX33" fmla="*/ 304800 w 1057275"/>
                  <a:gd name="connsiteY33" fmla="*/ 2418331 h 3048000"/>
                  <a:gd name="connsiteX34" fmla="*/ 304800 w 1057275"/>
                  <a:gd name="connsiteY34" fmla="*/ 1808731 h 3048000"/>
                  <a:gd name="connsiteX35" fmla="*/ 142875 w 1057275"/>
                  <a:gd name="connsiteY35" fmla="*/ 1646806 h 3048000"/>
                  <a:gd name="connsiteX36" fmla="*/ 142875 w 1057275"/>
                  <a:gd name="connsiteY36" fmla="*/ 1239269 h 3048000"/>
                  <a:gd name="connsiteX37" fmla="*/ 304800 w 1057275"/>
                  <a:gd name="connsiteY37" fmla="*/ 1401194 h 3048000"/>
                  <a:gd name="connsiteX38" fmla="*/ 304800 w 1057275"/>
                  <a:gd name="connsiteY38" fmla="*/ 1808731 h 3048000"/>
                  <a:gd name="connsiteX39" fmla="*/ 304800 w 1057275"/>
                  <a:gd name="connsiteY39" fmla="*/ 1199131 h 3048000"/>
                  <a:gd name="connsiteX40" fmla="*/ 142875 w 1057275"/>
                  <a:gd name="connsiteY40" fmla="*/ 1037206 h 3048000"/>
                  <a:gd name="connsiteX41" fmla="*/ 142875 w 1057275"/>
                  <a:gd name="connsiteY41" fmla="*/ 629669 h 3048000"/>
                  <a:gd name="connsiteX42" fmla="*/ 304800 w 1057275"/>
                  <a:gd name="connsiteY42" fmla="*/ 791594 h 3048000"/>
                  <a:gd name="connsiteX43" fmla="*/ 304800 w 1057275"/>
                  <a:gd name="connsiteY43" fmla="*/ 1199131 h 3048000"/>
                  <a:gd name="connsiteX44" fmla="*/ 609600 w 1057275"/>
                  <a:gd name="connsiteY44" fmla="*/ 2561206 h 3048000"/>
                  <a:gd name="connsiteX45" fmla="*/ 447675 w 1057275"/>
                  <a:gd name="connsiteY45" fmla="*/ 2723131 h 3048000"/>
                  <a:gd name="connsiteX46" fmla="*/ 447675 w 1057275"/>
                  <a:gd name="connsiteY46" fmla="*/ 2315594 h 3048000"/>
                  <a:gd name="connsiteX47" fmla="*/ 609600 w 1057275"/>
                  <a:gd name="connsiteY47" fmla="*/ 2153669 h 3048000"/>
                  <a:gd name="connsiteX48" fmla="*/ 609600 w 1057275"/>
                  <a:gd name="connsiteY48" fmla="*/ 2561206 h 3048000"/>
                  <a:gd name="connsiteX49" fmla="*/ 609600 w 1057275"/>
                  <a:gd name="connsiteY49" fmla="*/ 1951606 h 3048000"/>
                  <a:gd name="connsiteX50" fmla="*/ 447675 w 1057275"/>
                  <a:gd name="connsiteY50" fmla="*/ 2113531 h 3048000"/>
                  <a:gd name="connsiteX51" fmla="*/ 447675 w 1057275"/>
                  <a:gd name="connsiteY51" fmla="*/ 1705994 h 3048000"/>
                  <a:gd name="connsiteX52" fmla="*/ 609600 w 1057275"/>
                  <a:gd name="connsiteY52" fmla="*/ 1544069 h 3048000"/>
                  <a:gd name="connsiteX53" fmla="*/ 609600 w 1057275"/>
                  <a:gd name="connsiteY53" fmla="*/ 1951606 h 3048000"/>
                  <a:gd name="connsiteX54" fmla="*/ 609600 w 1057275"/>
                  <a:gd name="connsiteY54" fmla="*/ 1342006 h 3048000"/>
                  <a:gd name="connsiteX55" fmla="*/ 447675 w 1057275"/>
                  <a:gd name="connsiteY55" fmla="*/ 1503931 h 3048000"/>
                  <a:gd name="connsiteX56" fmla="*/ 447675 w 1057275"/>
                  <a:gd name="connsiteY56" fmla="*/ 1096394 h 3048000"/>
                  <a:gd name="connsiteX57" fmla="*/ 609600 w 1057275"/>
                  <a:gd name="connsiteY57" fmla="*/ 934469 h 3048000"/>
                  <a:gd name="connsiteX58" fmla="*/ 609600 w 1057275"/>
                  <a:gd name="connsiteY58" fmla="*/ 1342006 h 3048000"/>
                  <a:gd name="connsiteX59" fmla="*/ 609600 w 1057275"/>
                  <a:gd name="connsiteY59" fmla="*/ 732406 h 3048000"/>
                  <a:gd name="connsiteX60" fmla="*/ 447675 w 1057275"/>
                  <a:gd name="connsiteY60" fmla="*/ 894331 h 3048000"/>
                  <a:gd name="connsiteX61" fmla="*/ 447675 w 1057275"/>
                  <a:gd name="connsiteY61" fmla="*/ 486794 h 3048000"/>
                  <a:gd name="connsiteX62" fmla="*/ 609600 w 1057275"/>
                  <a:gd name="connsiteY62" fmla="*/ 324869 h 3048000"/>
                  <a:gd name="connsiteX63" fmla="*/ 609600 w 1057275"/>
                  <a:gd name="connsiteY63" fmla="*/ 732406 h 3048000"/>
                  <a:gd name="connsiteX64" fmla="*/ 914400 w 1057275"/>
                  <a:gd name="connsiteY64" fmla="*/ 2418331 h 3048000"/>
                  <a:gd name="connsiteX65" fmla="*/ 752475 w 1057275"/>
                  <a:gd name="connsiteY65" fmla="*/ 2256406 h 3048000"/>
                  <a:gd name="connsiteX66" fmla="*/ 752475 w 1057275"/>
                  <a:gd name="connsiteY66" fmla="*/ 1848869 h 3048000"/>
                  <a:gd name="connsiteX67" fmla="*/ 914400 w 1057275"/>
                  <a:gd name="connsiteY67" fmla="*/ 2010794 h 3048000"/>
                  <a:gd name="connsiteX68" fmla="*/ 914400 w 1057275"/>
                  <a:gd name="connsiteY68" fmla="*/ 2418331 h 3048000"/>
                  <a:gd name="connsiteX69" fmla="*/ 914400 w 1057275"/>
                  <a:gd name="connsiteY69" fmla="*/ 1808731 h 3048000"/>
                  <a:gd name="connsiteX70" fmla="*/ 752475 w 1057275"/>
                  <a:gd name="connsiteY70" fmla="*/ 1646806 h 3048000"/>
                  <a:gd name="connsiteX71" fmla="*/ 752475 w 1057275"/>
                  <a:gd name="connsiteY71" fmla="*/ 1239269 h 3048000"/>
                  <a:gd name="connsiteX72" fmla="*/ 914400 w 1057275"/>
                  <a:gd name="connsiteY72" fmla="*/ 1401194 h 3048000"/>
                  <a:gd name="connsiteX73" fmla="*/ 914400 w 1057275"/>
                  <a:gd name="connsiteY73" fmla="*/ 1808731 h 3048000"/>
                  <a:gd name="connsiteX74" fmla="*/ 914400 w 1057275"/>
                  <a:gd name="connsiteY74" fmla="*/ 1199131 h 3048000"/>
                  <a:gd name="connsiteX75" fmla="*/ 752475 w 1057275"/>
                  <a:gd name="connsiteY75" fmla="*/ 1037206 h 3048000"/>
                  <a:gd name="connsiteX76" fmla="*/ 752475 w 1057275"/>
                  <a:gd name="connsiteY76" fmla="*/ 629669 h 3048000"/>
                  <a:gd name="connsiteX77" fmla="*/ 914400 w 1057275"/>
                  <a:gd name="connsiteY77" fmla="*/ 791594 h 3048000"/>
                  <a:gd name="connsiteX78" fmla="*/ 914400 w 1057275"/>
                  <a:gd name="connsiteY78" fmla="*/ 1199131 h 30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1057275" h="3048000">
                    <a:moveTo>
                      <a:pt x="914400" y="381000"/>
                    </a:moveTo>
                    <a:lnTo>
                      <a:pt x="914400" y="589531"/>
                    </a:lnTo>
                    <a:lnTo>
                      <a:pt x="752475" y="427606"/>
                    </a:lnTo>
                    <a:lnTo>
                      <a:pt x="752475" y="0"/>
                    </a:lnTo>
                    <a:lnTo>
                      <a:pt x="609600" y="0"/>
                    </a:lnTo>
                    <a:lnTo>
                      <a:pt x="609600" y="122806"/>
                    </a:lnTo>
                    <a:lnTo>
                      <a:pt x="447675" y="284731"/>
                    </a:lnTo>
                    <a:lnTo>
                      <a:pt x="447675" y="0"/>
                    </a:lnTo>
                    <a:lnTo>
                      <a:pt x="304800" y="0"/>
                    </a:lnTo>
                    <a:lnTo>
                      <a:pt x="304800" y="589531"/>
                    </a:lnTo>
                    <a:lnTo>
                      <a:pt x="142875" y="427606"/>
                    </a:lnTo>
                    <a:lnTo>
                      <a:pt x="142875" y="0"/>
                    </a:lnTo>
                    <a:lnTo>
                      <a:pt x="0" y="0"/>
                    </a:lnTo>
                    <a:lnTo>
                      <a:pt x="0" y="2667000"/>
                    </a:lnTo>
                    <a:lnTo>
                      <a:pt x="142875" y="2667000"/>
                    </a:lnTo>
                    <a:lnTo>
                      <a:pt x="142875" y="2458469"/>
                    </a:lnTo>
                    <a:lnTo>
                      <a:pt x="304800" y="2620394"/>
                    </a:lnTo>
                    <a:lnTo>
                      <a:pt x="304800" y="3048000"/>
                    </a:lnTo>
                    <a:lnTo>
                      <a:pt x="447675" y="3048000"/>
                    </a:lnTo>
                    <a:lnTo>
                      <a:pt x="447675" y="2925194"/>
                    </a:lnTo>
                    <a:lnTo>
                      <a:pt x="609600" y="2763269"/>
                    </a:lnTo>
                    <a:lnTo>
                      <a:pt x="609600" y="3048000"/>
                    </a:lnTo>
                    <a:lnTo>
                      <a:pt x="752475" y="3048000"/>
                    </a:lnTo>
                    <a:lnTo>
                      <a:pt x="752475" y="2458469"/>
                    </a:lnTo>
                    <a:lnTo>
                      <a:pt x="914400" y="2620394"/>
                    </a:lnTo>
                    <a:lnTo>
                      <a:pt x="914400" y="3048000"/>
                    </a:lnTo>
                    <a:lnTo>
                      <a:pt x="1057275" y="3048000"/>
                    </a:lnTo>
                    <a:lnTo>
                      <a:pt x="1057275" y="381000"/>
                    </a:lnTo>
                    <a:lnTo>
                      <a:pt x="914400" y="381000"/>
                    </a:lnTo>
                    <a:close/>
                    <a:moveTo>
                      <a:pt x="304800" y="2418331"/>
                    </a:moveTo>
                    <a:lnTo>
                      <a:pt x="142875" y="2256406"/>
                    </a:lnTo>
                    <a:lnTo>
                      <a:pt x="142875" y="1848869"/>
                    </a:lnTo>
                    <a:lnTo>
                      <a:pt x="304800" y="2010794"/>
                    </a:lnTo>
                    <a:lnTo>
                      <a:pt x="304800" y="2418331"/>
                    </a:lnTo>
                    <a:close/>
                    <a:moveTo>
                      <a:pt x="304800" y="1808731"/>
                    </a:moveTo>
                    <a:lnTo>
                      <a:pt x="142875" y="1646806"/>
                    </a:lnTo>
                    <a:lnTo>
                      <a:pt x="142875" y="1239269"/>
                    </a:lnTo>
                    <a:lnTo>
                      <a:pt x="304800" y="1401194"/>
                    </a:lnTo>
                    <a:lnTo>
                      <a:pt x="304800" y="1808731"/>
                    </a:lnTo>
                    <a:close/>
                    <a:moveTo>
                      <a:pt x="304800" y="1199131"/>
                    </a:moveTo>
                    <a:lnTo>
                      <a:pt x="142875" y="1037206"/>
                    </a:lnTo>
                    <a:lnTo>
                      <a:pt x="142875" y="629669"/>
                    </a:lnTo>
                    <a:lnTo>
                      <a:pt x="304800" y="791594"/>
                    </a:lnTo>
                    <a:lnTo>
                      <a:pt x="304800" y="1199131"/>
                    </a:lnTo>
                    <a:close/>
                    <a:moveTo>
                      <a:pt x="609600" y="2561206"/>
                    </a:moveTo>
                    <a:lnTo>
                      <a:pt x="447675" y="2723131"/>
                    </a:lnTo>
                    <a:lnTo>
                      <a:pt x="447675" y="2315594"/>
                    </a:lnTo>
                    <a:lnTo>
                      <a:pt x="609600" y="2153669"/>
                    </a:lnTo>
                    <a:lnTo>
                      <a:pt x="609600" y="2561206"/>
                    </a:lnTo>
                    <a:close/>
                    <a:moveTo>
                      <a:pt x="609600" y="1951606"/>
                    </a:moveTo>
                    <a:lnTo>
                      <a:pt x="447675" y="2113531"/>
                    </a:lnTo>
                    <a:lnTo>
                      <a:pt x="447675" y="1705994"/>
                    </a:lnTo>
                    <a:lnTo>
                      <a:pt x="609600" y="1544069"/>
                    </a:lnTo>
                    <a:lnTo>
                      <a:pt x="609600" y="1951606"/>
                    </a:lnTo>
                    <a:close/>
                    <a:moveTo>
                      <a:pt x="609600" y="1342006"/>
                    </a:moveTo>
                    <a:lnTo>
                      <a:pt x="447675" y="1503931"/>
                    </a:lnTo>
                    <a:lnTo>
                      <a:pt x="447675" y="1096394"/>
                    </a:lnTo>
                    <a:lnTo>
                      <a:pt x="609600" y="934469"/>
                    </a:lnTo>
                    <a:lnTo>
                      <a:pt x="609600" y="1342006"/>
                    </a:lnTo>
                    <a:close/>
                    <a:moveTo>
                      <a:pt x="609600" y="732406"/>
                    </a:moveTo>
                    <a:lnTo>
                      <a:pt x="447675" y="894331"/>
                    </a:lnTo>
                    <a:lnTo>
                      <a:pt x="447675" y="486794"/>
                    </a:lnTo>
                    <a:lnTo>
                      <a:pt x="609600" y="324869"/>
                    </a:lnTo>
                    <a:lnTo>
                      <a:pt x="609600" y="732406"/>
                    </a:lnTo>
                    <a:close/>
                    <a:moveTo>
                      <a:pt x="914400" y="2418331"/>
                    </a:moveTo>
                    <a:lnTo>
                      <a:pt x="752475" y="2256406"/>
                    </a:lnTo>
                    <a:lnTo>
                      <a:pt x="752475" y="1848869"/>
                    </a:lnTo>
                    <a:lnTo>
                      <a:pt x="914400" y="2010794"/>
                    </a:lnTo>
                    <a:lnTo>
                      <a:pt x="914400" y="2418331"/>
                    </a:lnTo>
                    <a:close/>
                    <a:moveTo>
                      <a:pt x="914400" y="1808731"/>
                    </a:moveTo>
                    <a:lnTo>
                      <a:pt x="752475" y="1646806"/>
                    </a:lnTo>
                    <a:lnTo>
                      <a:pt x="752475" y="1239269"/>
                    </a:lnTo>
                    <a:lnTo>
                      <a:pt x="914400" y="1401194"/>
                    </a:lnTo>
                    <a:lnTo>
                      <a:pt x="914400" y="1808731"/>
                    </a:lnTo>
                    <a:close/>
                    <a:moveTo>
                      <a:pt x="914400" y="1199131"/>
                    </a:moveTo>
                    <a:lnTo>
                      <a:pt x="752475" y="1037206"/>
                    </a:lnTo>
                    <a:lnTo>
                      <a:pt x="752475" y="629669"/>
                    </a:lnTo>
                    <a:lnTo>
                      <a:pt x="914400" y="791594"/>
                    </a:lnTo>
                    <a:lnTo>
                      <a:pt x="914400" y="1199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: Shape 28">
                <a:extLst>
                  <a:ext uri="{FF2B5EF4-FFF2-40B4-BE49-F238E27FC236}">
                    <a16:creationId xmlns:a16="http://schemas.microsoft.com/office/drawing/2014/main" id="{F991BA0C-EB42-4025-A674-EDA1A5273508}"/>
                  </a:ext>
                </a:extLst>
              </p:cNvPr>
              <p:cNvSpPr/>
              <p:nvPr/>
            </p:nvSpPr>
            <p:spPr>
              <a:xfrm>
                <a:off x="6326187" y="15668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40" name="Straight Connector 30">
              <a:extLst>
                <a:ext uri="{FF2B5EF4-FFF2-40B4-BE49-F238E27FC236}">
                  <a16:creationId xmlns:a16="http://schemas.microsoft.com/office/drawing/2014/main" id="{488E61BC-1EA8-4EA0-AFB7-1771C120AAF0}"/>
                </a:ext>
              </a:extLst>
            </p:cNvPr>
            <p:cNvCxnSpPr>
              <a:stCxn id="38" idx="6"/>
              <a:endCxn id="66" idx="21"/>
            </p:cNvCxnSpPr>
            <p:nvPr/>
          </p:nvCxnSpPr>
          <p:spPr>
            <a:xfrm flipV="1">
              <a:off x="3453342" y="2665902"/>
              <a:ext cx="213282" cy="7671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 31">
              <a:extLst>
                <a:ext uri="{FF2B5EF4-FFF2-40B4-BE49-F238E27FC236}">
                  <a16:creationId xmlns:a16="http://schemas.microsoft.com/office/drawing/2014/main" id="{3173CE43-DEE0-4004-A35E-4B85E10E31F4}"/>
                </a:ext>
              </a:extLst>
            </p:cNvPr>
            <p:cNvGrpSpPr/>
            <p:nvPr/>
          </p:nvGrpSpPr>
          <p:grpSpPr>
            <a:xfrm rot="4687937">
              <a:off x="6254259" y="2399816"/>
              <a:ext cx="249065" cy="507978"/>
              <a:chOff x="5106987" y="1347788"/>
              <a:chExt cx="1666875" cy="3495675"/>
            </a:xfrm>
          </p:grpSpPr>
          <p:sp>
            <p:nvSpPr>
              <p:cNvPr id="60" name="Freeform: Shape 32">
                <a:extLst>
                  <a:ext uri="{FF2B5EF4-FFF2-40B4-BE49-F238E27FC236}">
                    <a16:creationId xmlns:a16="http://schemas.microsoft.com/office/drawing/2014/main" id="{60E922EF-3B6F-4123-8C3A-023C8A590F83}"/>
                  </a:ext>
                </a:extLst>
              </p:cNvPr>
              <p:cNvSpPr/>
              <p:nvPr/>
            </p:nvSpPr>
            <p:spPr>
              <a:xfrm>
                <a:off x="5106987" y="1347788"/>
                <a:ext cx="1666875" cy="3495675"/>
              </a:xfrm>
              <a:custGeom>
                <a:avLst/>
                <a:gdLst>
                  <a:gd name="connsiteX0" fmla="*/ 1290638 w 1666875"/>
                  <a:gd name="connsiteY0" fmla="*/ 0 h 3495675"/>
                  <a:gd name="connsiteX1" fmla="*/ 376238 w 1666875"/>
                  <a:gd name="connsiteY1" fmla="*/ 0 h 3495675"/>
                  <a:gd name="connsiteX2" fmla="*/ 0 w 1666875"/>
                  <a:gd name="connsiteY2" fmla="*/ 376238 h 3495675"/>
                  <a:gd name="connsiteX3" fmla="*/ 0 w 1666875"/>
                  <a:gd name="connsiteY3" fmla="*/ 3119438 h 3495675"/>
                  <a:gd name="connsiteX4" fmla="*/ 376238 w 1666875"/>
                  <a:gd name="connsiteY4" fmla="*/ 3495675 h 3495675"/>
                  <a:gd name="connsiteX5" fmla="*/ 1290638 w 1666875"/>
                  <a:gd name="connsiteY5" fmla="*/ 3495675 h 3495675"/>
                  <a:gd name="connsiteX6" fmla="*/ 1666875 w 1666875"/>
                  <a:gd name="connsiteY6" fmla="*/ 3119438 h 3495675"/>
                  <a:gd name="connsiteX7" fmla="*/ 1666875 w 1666875"/>
                  <a:gd name="connsiteY7" fmla="*/ 376238 h 3495675"/>
                  <a:gd name="connsiteX8" fmla="*/ 1290638 w 1666875"/>
                  <a:gd name="connsiteY8" fmla="*/ 0 h 3495675"/>
                  <a:gd name="connsiteX9" fmla="*/ 1524000 w 1666875"/>
                  <a:gd name="connsiteY9" fmla="*/ 3119438 h 3495675"/>
                  <a:gd name="connsiteX10" fmla="*/ 1290638 w 1666875"/>
                  <a:gd name="connsiteY10" fmla="*/ 3352800 h 3495675"/>
                  <a:gd name="connsiteX11" fmla="*/ 376238 w 1666875"/>
                  <a:gd name="connsiteY11" fmla="*/ 3352800 h 3495675"/>
                  <a:gd name="connsiteX12" fmla="*/ 142875 w 1666875"/>
                  <a:gd name="connsiteY12" fmla="*/ 3119438 h 3495675"/>
                  <a:gd name="connsiteX13" fmla="*/ 142875 w 1666875"/>
                  <a:gd name="connsiteY13" fmla="*/ 376238 h 3495675"/>
                  <a:gd name="connsiteX14" fmla="*/ 376238 w 1666875"/>
                  <a:gd name="connsiteY14" fmla="*/ 142875 h 3495675"/>
                  <a:gd name="connsiteX15" fmla="*/ 1290638 w 1666875"/>
                  <a:gd name="connsiteY15" fmla="*/ 142875 h 3495675"/>
                  <a:gd name="connsiteX16" fmla="*/ 1524000 w 1666875"/>
                  <a:gd name="connsiteY16" fmla="*/ 376238 h 3495675"/>
                  <a:gd name="connsiteX17" fmla="*/ 1524000 w 1666875"/>
                  <a:gd name="connsiteY17" fmla="*/ 3119438 h 3495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66875" h="3495675">
                    <a:moveTo>
                      <a:pt x="1290638" y="0"/>
                    </a:moveTo>
                    <a:lnTo>
                      <a:pt x="376238" y="0"/>
                    </a:lnTo>
                    <a:cubicBezTo>
                      <a:pt x="168450" y="0"/>
                      <a:pt x="0" y="168450"/>
                      <a:pt x="0" y="376238"/>
                    </a:cubicBezTo>
                    <a:lnTo>
                      <a:pt x="0" y="3119438"/>
                    </a:lnTo>
                    <a:cubicBezTo>
                      <a:pt x="0" y="3327226"/>
                      <a:pt x="168450" y="3495675"/>
                      <a:pt x="376238" y="3495675"/>
                    </a:cubicBezTo>
                    <a:lnTo>
                      <a:pt x="1290638" y="3495675"/>
                    </a:lnTo>
                    <a:cubicBezTo>
                      <a:pt x="1498425" y="3495675"/>
                      <a:pt x="1666875" y="3327226"/>
                      <a:pt x="1666875" y="3119438"/>
                    </a:cubicBezTo>
                    <a:lnTo>
                      <a:pt x="1666875" y="376238"/>
                    </a:lnTo>
                    <a:cubicBezTo>
                      <a:pt x="1666875" y="168450"/>
                      <a:pt x="1498425" y="0"/>
                      <a:pt x="1290638" y="0"/>
                    </a:cubicBezTo>
                    <a:close/>
                    <a:moveTo>
                      <a:pt x="1524000" y="3119438"/>
                    </a:moveTo>
                    <a:cubicBezTo>
                      <a:pt x="1524000" y="3248320"/>
                      <a:pt x="1419520" y="3352800"/>
                      <a:pt x="1290638" y="3352800"/>
                    </a:cubicBezTo>
                    <a:lnTo>
                      <a:pt x="376238" y="3352800"/>
                    </a:lnTo>
                    <a:cubicBezTo>
                      <a:pt x="247355" y="3352800"/>
                      <a:pt x="142875" y="3248320"/>
                      <a:pt x="142875" y="3119438"/>
                    </a:cubicBezTo>
                    <a:lnTo>
                      <a:pt x="142875" y="376238"/>
                    </a:lnTo>
                    <a:cubicBezTo>
                      <a:pt x="142875" y="247355"/>
                      <a:pt x="247355" y="142875"/>
                      <a:pt x="376238" y="142875"/>
                    </a:cubicBezTo>
                    <a:lnTo>
                      <a:pt x="1290638" y="142875"/>
                    </a:lnTo>
                    <a:cubicBezTo>
                      <a:pt x="1419520" y="142875"/>
                      <a:pt x="1524000" y="247355"/>
                      <a:pt x="1524000" y="376238"/>
                    </a:cubicBezTo>
                    <a:lnTo>
                      <a:pt x="1524000" y="311943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33">
                <a:extLst>
                  <a:ext uri="{FF2B5EF4-FFF2-40B4-BE49-F238E27FC236}">
                    <a16:creationId xmlns:a16="http://schemas.microsoft.com/office/drawing/2014/main" id="{BFAE1218-BCFC-4F8A-93C2-DA830B68896B}"/>
                  </a:ext>
                </a:extLst>
              </p:cNvPr>
              <p:cNvSpPr/>
              <p:nvPr/>
            </p:nvSpPr>
            <p:spPr>
              <a:xfrm>
                <a:off x="5411787" y="44624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34">
                <a:extLst>
                  <a:ext uri="{FF2B5EF4-FFF2-40B4-BE49-F238E27FC236}">
                    <a16:creationId xmlns:a16="http://schemas.microsoft.com/office/drawing/2014/main" id="{C1436F25-B180-412D-98F7-954C7D7F4768}"/>
                  </a:ext>
                </a:extLst>
              </p:cNvPr>
              <p:cNvSpPr/>
              <p:nvPr/>
            </p:nvSpPr>
            <p:spPr>
              <a:xfrm>
                <a:off x="5411787" y="1566863"/>
                <a:ext cx="1057275" cy="3048000"/>
              </a:xfrm>
              <a:custGeom>
                <a:avLst/>
                <a:gdLst>
                  <a:gd name="connsiteX0" fmla="*/ 914400 w 1057275"/>
                  <a:gd name="connsiteY0" fmla="*/ 381000 h 3048000"/>
                  <a:gd name="connsiteX1" fmla="*/ 914400 w 1057275"/>
                  <a:gd name="connsiteY1" fmla="*/ 589531 h 3048000"/>
                  <a:gd name="connsiteX2" fmla="*/ 752475 w 1057275"/>
                  <a:gd name="connsiteY2" fmla="*/ 427606 h 3048000"/>
                  <a:gd name="connsiteX3" fmla="*/ 752475 w 1057275"/>
                  <a:gd name="connsiteY3" fmla="*/ 0 h 3048000"/>
                  <a:gd name="connsiteX4" fmla="*/ 609600 w 1057275"/>
                  <a:gd name="connsiteY4" fmla="*/ 0 h 3048000"/>
                  <a:gd name="connsiteX5" fmla="*/ 609600 w 1057275"/>
                  <a:gd name="connsiteY5" fmla="*/ 122806 h 3048000"/>
                  <a:gd name="connsiteX6" fmla="*/ 447675 w 1057275"/>
                  <a:gd name="connsiteY6" fmla="*/ 284731 h 3048000"/>
                  <a:gd name="connsiteX7" fmla="*/ 447675 w 1057275"/>
                  <a:gd name="connsiteY7" fmla="*/ 0 h 3048000"/>
                  <a:gd name="connsiteX8" fmla="*/ 304800 w 1057275"/>
                  <a:gd name="connsiteY8" fmla="*/ 0 h 3048000"/>
                  <a:gd name="connsiteX9" fmla="*/ 304800 w 1057275"/>
                  <a:gd name="connsiteY9" fmla="*/ 589531 h 3048000"/>
                  <a:gd name="connsiteX10" fmla="*/ 142875 w 1057275"/>
                  <a:gd name="connsiteY10" fmla="*/ 427606 h 3048000"/>
                  <a:gd name="connsiteX11" fmla="*/ 142875 w 1057275"/>
                  <a:gd name="connsiteY11" fmla="*/ 0 h 3048000"/>
                  <a:gd name="connsiteX12" fmla="*/ 0 w 1057275"/>
                  <a:gd name="connsiteY12" fmla="*/ 0 h 3048000"/>
                  <a:gd name="connsiteX13" fmla="*/ 0 w 1057275"/>
                  <a:gd name="connsiteY13" fmla="*/ 2667000 h 3048000"/>
                  <a:gd name="connsiteX14" fmla="*/ 142875 w 1057275"/>
                  <a:gd name="connsiteY14" fmla="*/ 2667000 h 3048000"/>
                  <a:gd name="connsiteX15" fmla="*/ 142875 w 1057275"/>
                  <a:gd name="connsiteY15" fmla="*/ 2458469 h 3048000"/>
                  <a:gd name="connsiteX16" fmla="*/ 304800 w 1057275"/>
                  <a:gd name="connsiteY16" fmla="*/ 2620394 h 3048000"/>
                  <a:gd name="connsiteX17" fmla="*/ 304800 w 1057275"/>
                  <a:gd name="connsiteY17" fmla="*/ 3048000 h 3048000"/>
                  <a:gd name="connsiteX18" fmla="*/ 447675 w 1057275"/>
                  <a:gd name="connsiteY18" fmla="*/ 3048000 h 3048000"/>
                  <a:gd name="connsiteX19" fmla="*/ 447675 w 1057275"/>
                  <a:gd name="connsiteY19" fmla="*/ 2925194 h 3048000"/>
                  <a:gd name="connsiteX20" fmla="*/ 609600 w 1057275"/>
                  <a:gd name="connsiteY20" fmla="*/ 2763269 h 3048000"/>
                  <a:gd name="connsiteX21" fmla="*/ 609600 w 1057275"/>
                  <a:gd name="connsiteY21" fmla="*/ 3048000 h 3048000"/>
                  <a:gd name="connsiteX22" fmla="*/ 752475 w 1057275"/>
                  <a:gd name="connsiteY22" fmla="*/ 3048000 h 3048000"/>
                  <a:gd name="connsiteX23" fmla="*/ 752475 w 1057275"/>
                  <a:gd name="connsiteY23" fmla="*/ 2458469 h 3048000"/>
                  <a:gd name="connsiteX24" fmla="*/ 914400 w 1057275"/>
                  <a:gd name="connsiteY24" fmla="*/ 2620394 h 3048000"/>
                  <a:gd name="connsiteX25" fmla="*/ 914400 w 1057275"/>
                  <a:gd name="connsiteY25" fmla="*/ 3048000 h 3048000"/>
                  <a:gd name="connsiteX26" fmla="*/ 1057275 w 1057275"/>
                  <a:gd name="connsiteY26" fmla="*/ 3048000 h 3048000"/>
                  <a:gd name="connsiteX27" fmla="*/ 1057275 w 1057275"/>
                  <a:gd name="connsiteY27" fmla="*/ 381000 h 3048000"/>
                  <a:gd name="connsiteX28" fmla="*/ 914400 w 1057275"/>
                  <a:gd name="connsiteY28" fmla="*/ 381000 h 3048000"/>
                  <a:gd name="connsiteX29" fmla="*/ 304800 w 1057275"/>
                  <a:gd name="connsiteY29" fmla="*/ 2418331 h 3048000"/>
                  <a:gd name="connsiteX30" fmla="*/ 142875 w 1057275"/>
                  <a:gd name="connsiteY30" fmla="*/ 2256406 h 3048000"/>
                  <a:gd name="connsiteX31" fmla="*/ 142875 w 1057275"/>
                  <a:gd name="connsiteY31" fmla="*/ 1848869 h 3048000"/>
                  <a:gd name="connsiteX32" fmla="*/ 304800 w 1057275"/>
                  <a:gd name="connsiteY32" fmla="*/ 2010794 h 3048000"/>
                  <a:gd name="connsiteX33" fmla="*/ 304800 w 1057275"/>
                  <a:gd name="connsiteY33" fmla="*/ 2418331 h 3048000"/>
                  <a:gd name="connsiteX34" fmla="*/ 304800 w 1057275"/>
                  <a:gd name="connsiteY34" fmla="*/ 1808731 h 3048000"/>
                  <a:gd name="connsiteX35" fmla="*/ 142875 w 1057275"/>
                  <a:gd name="connsiteY35" fmla="*/ 1646806 h 3048000"/>
                  <a:gd name="connsiteX36" fmla="*/ 142875 w 1057275"/>
                  <a:gd name="connsiteY36" fmla="*/ 1239269 h 3048000"/>
                  <a:gd name="connsiteX37" fmla="*/ 304800 w 1057275"/>
                  <a:gd name="connsiteY37" fmla="*/ 1401194 h 3048000"/>
                  <a:gd name="connsiteX38" fmla="*/ 304800 w 1057275"/>
                  <a:gd name="connsiteY38" fmla="*/ 1808731 h 3048000"/>
                  <a:gd name="connsiteX39" fmla="*/ 304800 w 1057275"/>
                  <a:gd name="connsiteY39" fmla="*/ 1199131 h 3048000"/>
                  <a:gd name="connsiteX40" fmla="*/ 142875 w 1057275"/>
                  <a:gd name="connsiteY40" fmla="*/ 1037206 h 3048000"/>
                  <a:gd name="connsiteX41" fmla="*/ 142875 w 1057275"/>
                  <a:gd name="connsiteY41" fmla="*/ 629669 h 3048000"/>
                  <a:gd name="connsiteX42" fmla="*/ 304800 w 1057275"/>
                  <a:gd name="connsiteY42" fmla="*/ 791594 h 3048000"/>
                  <a:gd name="connsiteX43" fmla="*/ 304800 w 1057275"/>
                  <a:gd name="connsiteY43" fmla="*/ 1199131 h 3048000"/>
                  <a:gd name="connsiteX44" fmla="*/ 609600 w 1057275"/>
                  <a:gd name="connsiteY44" fmla="*/ 2561206 h 3048000"/>
                  <a:gd name="connsiteX45" fmla="*/ 447675 w 1057275"/>
                  <a:gd name="connsiteY45" fmla="*/ 2723131 h 3048000"/>
                  <a:gd name="connsiteX46" fmla="*/ 447675 w 1057275"/>
                  <a:gd name="connsiteY46" fmla="*/ 2315594 h 3048000"/>
                  <a:gd name="connsiteX47" fmla="*/ 609600 w 1057275"/>
                  <a:gd name="connsiteY47" fmla="*/ 2153669 h 3048000"/>
                  <a:gd name="connsiteX48" fmla="*/ 609600 w 1057275"/>
                  <a:gd name="connsiteY48" fmla="*/ 2561206 h 3048000"/>
                  <a:gd name="connsiteX49" fmla="*/ 609600 w 1057275"/>
                  <a:gd name="connsiteY49" fmla="*/ 1951606 h 3048000"/>
                  <a:gd name="connsiteX50" fmla="*/ 447675 w 1057275"/>
                  <a:gd name="connsiteY50" fmla="*/ 2113531 h 3048000"/>
                  <a:gd name="connsiteX51" fmla="*/ 447675 w 1057275"/>
                  <a:gd name="connsiteY51" fmla="*/ 1705994 h 3048000"/>
                  <a:gd name="connsiteX52" fmla="*/ 609600 w 1057275"/>
                  <a:gd name="connsiteY52" fmla="*/ 1544069 h 3048000"/>
                  <a:gd name="connsiteX53" fmla="*/ 609600 w 1057275"/>
                  <a:gd name="connsiteY53" fmla="*/ 1951606 h 3048000"/>
                  <a:gd name="connsiteX54" fmla="*/ 609600 w 1057275"/>
                  <a:gd name="connsiteY54" fmla="*/ 1342006 h 3048000"/>
                  <a:gd name="connsiteX55" fmla="*/ 447675 w 1057275"/>
                  <a:gd name="connsiteY55" fmla="*/ 1503931 h 3048000"/>
                  <a:gd name="connsiteX56" fmla="*/ 447675 w 1057275"/>
                  <a:gd name="connsiteY56" fmla="*/ 1096394 h 3048000"/>
                  <a:gd name="connsiteX57" fmla="*/ 609600 w 1057275"/>
                  <a:gd name="connsiteY57" fmla="*/ 934469 h 3048000"/>
                  <a:gd name="connsiteX58" fmla="*/ 609600 w 1057275"/>
                  <a:gd name="connsiteY58" fmla="*/ 1342006 h 3048000"/>
                  <a:gd name="connsiteX59" fmla="*/ 609600 w 1057275"/>
                  <a:gd name="connsiteY59" fmla="*/ 732406 h 3048000"/>
                  <a:gd name="connsiteX60" fmla="*/ 447675 w 1057275"/>
                  <a:gd name="connsiteY60" fmla="*/ 894331 h 3048000"/>
                  <a:gd name="connsiteX61" fmla="*/ 447675 w 1057275"/>
                  <a:gd name="connsiteY61" fmla="*/ 486794 h 3048000"/>
                  <a:gd name="connsiteX62" fmla="*/ 609600 w 1057275"/>
                  <a:gd name="connsiteY62" fmla="*/ 324869 h 3048000"/>
                  <a:gd name="connsiteX63" fmla="*/ 609600 w 1057275"/>
                  <a:gd name="connsiteY63" fmla="*/ 732406 h 3048000"/>
                  <a:gd name="connsiteX64" fmla="*/ 914400 w 1057275"/>
                  <a:gd name="connsiteY64" fmla="*/ 2418331 h 3048000"/>
                  <a:gd name="connsiteX65" fmla="*/ 752475 w 1057275"/>
                  <a:gd name="connsiteY65" fmla="*/ 2256406 h 3048000"/>
                  <a:gd name="connsiteX66" fmla="*/ 752475 w 1057275"/>
                  <a:gd name="connsiteY66" fmla="*/ 1848869 h 3048000"/>
                  <a:gd name="connsiteX67" fmla="*/ 914400 w 1057275"/>
                  <a:gd name="connsiteY67" fmla="*/ 2010794 h 3048000"/>
                  <a:gd name="connsiteX68" fmla="*/ 914400 w 1057275"/>
                  <a:gd name="connsiteY68" fmla="*/ 2418331 h 3048000"/>
                  <a:gd name="connsiteX69" fmla="*/ 914400 w 1057275"/>
                  <a:gd name="connsiteY69" fmla="*/ 1808731 h 3048000"/>
                  <a:gd name="connsiteX70" fmla="*/ 752475 w 1057275"/>
                  <a:gd name="connsiteY70" fmla="*/ 1646806 h 3048000"/>
                  <a:gd name="connsiteX71" fmla="*/ 752475 w 1057275"/>
                  <a:gd name="connsiteY71" fmla="*/ 1239269 h 3048000"/>
                  <a:gd name="connsiteX72" fmla="*/ 914400 w 1057275"/>
                  <a:gd name="connsiteY72" fmla="*/ 1401194 h 3048000"/>
                  <a:gd name="connsiteX73" fmla="*/ 914400 w 1057275"/>
                  <a:gd name="connsiteY73" fmla="*/ 1808731 h 3048000"/>
                  <a:gd name="connsiteX74" fmla="*/ 914400 w 1057275"/>
                  <a:gd name="connsiteY74" fmla="*/ 1199131 h 3048000"/>
                  <a:gd name="connsiteX75" fmla="*/ 752475 w 1057275"/>
                  <a:gd name="connsiteY75" fmla="*/ 1037206 h 3048000"/>
                  <a:gd name="connsiteX76" fmla="*/ 752475 w 1057275"/>
                  <a:gd name="connsiteY76" fmla="*/ 629669 h 3048000"/>
                  <a:gd name="connsiteX77" fmla="*/ 914400 w 1057275"/>
                  <a:gd name="connsiteY77" fmla="*/ 791594 h 3048000"/>
                  <a:gd name="connsiteX78" fmla="*/ 914400 w 1057275"/>
                  <a:gd name="connsiteY78" fmla="*/ 1199131 h 30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1057275" h="3048000">
                    <a:moveTo>
                      <a:pt x="914400" y="381000"/>
                    </a:moveTo>
                    <a:lnTo>
                      <a:pt x="914400" y="589531"/>
                    </a:lnTo>
                    <a:lnTo>
                      <a:pt x="752475" y="427606"/>
                    </a:lnTo>
                    <a:lnTo>
                      <a:pt x="752475" y="0"/>
                    </a:lnTo>
                    <a:lnTo>
                      <a:pt x="609600" y="0"/>
                    </a:lnTo>
                    <a:lnTo>
                      <a:pt x="609600" y="122806"/>
                    </a:lnTo>
                    <a:lnTo>
                      <a:pt x="447675" y="284731"/>
                    </a:lnTo>
                    <a:lnTo>
                      <a:pt x="447675" y="0"/>
                    </a:lnTo>
                    <a:lnTo>
                      <a:pt x="304800" y="0"/>
                    </a:lnTo>
                    <a:lnTo>
                      <a:pt x="304800" y="589531"/>
                    </a:lnTo>
                    <a:lnTo>
                      <a:pt x="142875" y="427606"/>
                    </a:lnTo>
                    <a:lnTo>
                      <a:pt x="142875" y="0"/>
                    </a:lnTo>
                    <a:lnTo>
                      <a:pt x="0" y="0"/>
                    </a:lnTo>
                    <a:lnTo>
                      <a:pt x="0" y="2667000"/>
                    </a:lnTo>
                    <a:lnTo>
                      <a:pt x="142875" y="2667000"/>
                    </a:lnTo>
                    <a:lnTo>
                      <a:pt x="142875" y="2458469"/>
                    </a:lnTo>
                    <a:lnTo>
                      <a:pt x="304800" y="2620394"/>
                    </a:lnTo>
                    <a:lnTo>
                      <a:pt x="304800" y="3048000"/>
                    </a:lnTo>
                    <a:lnTo>
                      <a:pt x="447675" y="3048000"/>
                    </a:lnTo>
                    <a:lnTo>
                      <a:pt x="447675" y="2925194"/>
                    </a:lnTo>
                    <a:lnTo>
                      <a:pt x="609600" y="2763269"/>
                    </a:lnTo>
                    <a:lnTo>
                      <a:pt x="609600" y="3048000"/>
                    </a:lnTo>
                    <a:lnTo>
                      <a:pt x="752475" y="3048000"/>
                    </a:lnTo>
                    <a:lnTo>
                      <a:pt x="752475" y="2458469"/>
                    </a:lnTo>
                    <a:lnTo>
                      <a:pt x="914400" y="2620394"/>
                    </a:lnTo>
                    <a:lnTo>
                      <a:pt x="914400" y="3048000"/>
                    </a:lnTo>
                    <a:lnTo>
                      <a:pt x="1057275" y="3048000"/>
                    </a:lnTo>
                    <a:lnTo>
                      <a:pt x="1057275" y="381000"/>
                    </a:lnTo>
                    <a:lnTo>
                      <a:pt x="914400" y="381000"/>
                    </a:lnTo>
                    <a:close/>
                    <a:moveTo>
                      <a:pt x="304800" y="2418331"/>
                    </a:moveTo>
                    <a:lnTo>
                      <a:pt x="142875" y="2256406"/>
                    </a:lnTo>
                    <a:lnTo>
                      <a:pt x="142875" y="1848869"/>
                    </a:lnTo>
                    <a:lnTo>
                      <a:pt x="304800" y="2010794"/>
                    </a:lnTo>
                    <a:lnTo>
                      <a:pt x="304800" y="2418331"/>
                    </a:lnTo>
                    <a:close/>
                    <a:moveTo>
                      <a:pt x="304800" y="1808731"/>
                    </a:moveTo>
                    <a:lnTo>
                      <a:pt x="142875" y="1646806"/>
                    </a:lnTo>
                    <a:lnTo>
                      <a:pt x="142875" y="1239269"/>
                    </a:lnTo>
                    <a:lnTo>
                      <a:pt x="304800" y="1401194"/>
                    </a:lnTo>
                    <a:lnTo>
                      <a:pt x="304800" y="1808731"/>
                    </a:lnTo>
                    <a:close/>
                    <a:moveTo>
                      <a:pt x="304800" y="1199131"/>
                    </a:moveTo>
                    <a:lnTo>
                      <a:pt x="142875" y="1037206"/>
                    </a:lnTo>
                    <a:lnTo>
                      <a:pt x="142875" y="629669"/>
                    </a:lnTo>
                    <a:lnTo>
                      <a:pt x="304800" y="791594"/>
                    </a:lnTo>
                    <a:lnTo>
                      <a:pt x="304800" y="1199131"/>
                    </a:lnTo>
                    <a:close/>
                    <a:moveTo>
                      <a:pt x="609600" y="2561206"/>
                    </a:moveTo>
                    <a:lnTo>
                      <a:pt x="447675" y="2723131"/>
                    </a:lnTo>
                    <a:lnTo>
                      <a:pt x="447675" y="2315594"/>
                    </a:lnTo>
                    <a:lnTo>
                      <a:pt x="609600" y="2153669"/>
                    </a:lnTo>
                    <a:lnTo>
                      <a:pt x="609600" y="2561206"/>
                    </a:lnTo>
                    <a:close/>
                    <a:moveTo>
                      <a:pt x="609600" y="1951606"/>
                    </a:moveTo>
                    <a:lnTo>
                      <a:pt x="447675" y="2113531"/>
                    </a:lnTo>
                    <a:lnTo>
                      <a:pt x="447675" y="1705994"/>
                    </a:lnTo>
                    <a:lnTo>
                      <a:pt x="609600" y="1544069"/>
                    </a:lnTo>
                    <a:lnTo>
                      <a:pt x="609600" y="1951606"/>
                    </a:lnTo>
                    <a:close/>
                    <a:moveTo>
                      <a:pt x="609600" y="1342006"/>
                    </a:moveTo>
                    <a:lnTo>
                      <a:pt x="447675" y="1503931"/>
                    </a:lnTo>
                    <a:lnTo>
                      <a:pt x="447675" y="1096394"/>
                    </a:lnTo>
                    <a:lnTo>
                      <a:pt x="609600" y="934469"/>
                    </a:lnTo>
                    <a:lnTo>
                      <a:pt x="609600" y="1342006"/>
                    </a:lnTo>
                    <a:close/>
                    <a:moveTo>
                      <a:pt x="609600" y="732406"/>
                    </a:moveTo>
                    <a:lnTo>
                      <a:pt x="447675" y="894331"/>
                    </a:lnTo>
                    <a:lnTo>
                      <a:pt x="447675" y="486794"/>
                    </a:lnTo>
                    <a:lnTo>
                      <a:pt x="609600" y="324869"/>
                    </a:lnTo>
                    <a:lnTo>
                      <a:pt x="609600" y="732406"/>
                    </a:lnTo>
                    <a:close/>
                    <a:moveTo>
                      <a:pt x="914400" y="2418331"/>
                    </a:moveTo>
                    <a:lnTo>
                      <a:pt x="752475" y="2256406"/>
                    </a:lnTo>
                    <a:lnTo>
                      <a:pt x="752475" y="1848869"/>
                    </a:lnTo>
                    <a:lnTo>
                      <a:pt x="914400" y="2010794"/>
                    </a:lnTo>
                    <a:lnTo>
                      <a:pt x="914400" y="2418331"/>
                    </a:lnTo>
                    <a:close/>
                    <a:moveTo>
                      <a:pt x="914400" y="1808731"/>
                    </a:moveTo>
                    <a:lnTo>
                      <a:pt x="752475" y="1646806"/>
                    </a:lnTo>
                    <a:lnTo>
                      <a:pt x="752475" y="1239269"/>
                    </a:lnTo>
                    <a:lnTo>
                      <a:pt x="914400" y="1401194"/>
                    </a:lnTo>
                    <a:lnTo>
                      <a:pt x="914400" y="1808731"/>
                    </a:lnTo>
                    <a:close/>
                    <a:moveTo>
                      <a:pt x="914400" y="1199131"/>
                    </a:moveTo>
                    <a:lnTo>
                      <a:pt x="752475" y="1037206"/>
                    </a:lnTo>
                    <a:lnTo>
                      <a:pt x="752475" y="629669"/>
                    </a:lnTo>
                    <a:lnTo>
                      <a:pt x="914400" y="791594"/>
                    </a:lnTo>
                    <a:lnTo>
                      <a:pt x="914400" y="1199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: Shape 35">
                <a:extLst>
                  <a:ext uri="{FF2B5EF4-FFF2-40B4-BE49-F238E27FC236}">
                    <a16:creationId xmlns:a16="http://schemas.microsoft.com/office/drawing/2014/main" id="{B03DF2F1-1DC8-4A09-BB09-B04ABF6F8C63}"/>
                  </a:ext>
                </a:extLst>
              </p:cNvPr>
              <p:cNvSpPr/>
              <p:nvPr/>
            </p:nvSpPr>
            <p:spPr>
              <a:xfrm>
                <a:off x="6326187" y="15668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42" name="Straight Connector 39">
              <a:extLst>
                <a:ext uri="{FF2B5EF4-FFF2-40B4-BE49-F238E27FC236}">
                  <a16:creationId xmlns:a16="http://schemas.microsoft.com/office/drawing/2014/main" id="{710EE0FC-CBEA-4DAF-9A4C-A1888FCEB742}"/>
                </a:ext>
              </a:extLst>
            </p:cNvPr>
            <p:cNvCxnSpPr>
              <a:stCxn id="62" idx="44"/>
              <a:endCxn id="66" idx="54"/>
            </p:cNvCxnSpPr>
            <p:nvPr/>
          </p:nvCxnSpPr>
          <p:spPr>
            <a:xfrm flipH="1" flipV="1">
              <a:off x="3914533" y="2665902"/>
              <a:ext cx="2319922" cy="3059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Flowchart: Or 40">
              <a:extLst>
                <a:ext uri="{FF2B5EF4-FFF2-40B4-BE49-F238E27FC236}">
                  <a16:creationId xmlns:a16="http://schemas.microsoft.com/office/drawing/2014/main" id="{AD850772-7211-4BB7-A162-E94005EEF894}"/>
                </a:ext>
              </a:extLst>
            </p:cNvPr>
            <p:cNvSpPr/>
            <p:nvPr/>
          </p:nvSpPr>
          <p:spPr>
            <a:xfrm>
              <a:off x="5074494" y="2604538"/>
              <a:ext cx="144016" cy="144016"/>
            </a:xfrm>
            <a:prstGeom prst="flowChartOr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cxnSp>
          <p:nvCxnSpPr>
            <p:cNvPr id="44" name="Straight Arrow Connector 42">
              <a:extLst>
                <a:ext uri="{FF2B5EF4-FFF2-40B4-BE49-F238E27FC236}">
                  <a16:creationId xmlns:a16="http://schemas.microsoft.com/office/drawing/2014/main" id="{CF273532-5179-46FC-BD8E-907DCBA74EF2}"/>
                </a:ext>
              </a:extLst>
            </p:cNvPr>
            <p:cNvCxnSpPr>
              <a:cxnSpLocks/>
            </p:cNvCxnSpPr>
            <p:nvPr/>
          </p:nvCxnSpPr>
          <p:spPr>
            <a:xfrm>
              <a:off x="1323375" y="1707654"/>
              <a:ext cx="5912921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33F07ABF-6EC7-4C62-BCA1-99AE39728977}"/>
                </a:ext>
              </a:extLst>
            </p:cNvPr>
            <p:cNvCxnSpPr>
              <a:cxnSpLocks/>
            </p:cNvCxnSpPr>
            <p:nvPr/>
          </p:nvCxnSpPr>
          <p:spPr>
            <a:xfrm>
              <a:off x="1453647" y="1520015"/>
              <a:ext cx="0" cy="256093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9B19154-4146-4374-A2BB-A95620D808FC}"/>
                </a:ext>
              </a:extLst>
            </p:cNvPr>
            <p:cNvSpPr txBox="1"/>
            <p:nvPr/>
          </p:nvSpPr>
          <p:spPr>
            <a:xfrm>
              <a:off x="7236296" y="1522988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dirty="0"/>
                <a:t>x</a:t>
              </a:r>
              <a:endParaRPr lang="en-US" dirty="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50E23A8-8D1E-4105-BF03-231B7E9C67AA}"/>
                </a:ext>
              </a:extLst>
            </p:cNvPr>
            <p:cNvSpPr txBox="1"/>
            <p:nvPr/>
          </p:nvSpPr>
          <p:spPr>
            <a:xfrm>
              <a:off x="1173334" y="3800024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dirty="0"/>
                <a:t>y</a:t>
              </a:r>
              <a:endParaRPr lang="en-US" dirty="0"/>
            </a:p>
          </p:txBody>
        </p:sp>
        <p:sp>
          <p:nvSpPr>
            <p:cNvPr id="48" name="Arc 55">
              <a:extLst>
                <a:ext uri="{FF2B5EF4-FFF2-40B4-BE49-F238E27FC236}">
                  <a16:creationId xmlns:a16="http://schemas.microsoft.com/office/drawing/2014/main" id="{68FE4ACC-B437-4189-B755-852D17367022}"/>
                </a:ext>
              </a:extLst>
            </p:cNvPr>
            <p:cNvSpPr/>
            <p:nvPr/>
          </p:nvSpPr>
          <p:spPr>
            <a:xfrm rot="1072984">
              <a:off x="6901251" y="2413006"/>
              <a:ext cx="224359" cy="308555"/>
            </a:xfrm>
            <a:prstGeom prst="arc">
              <a:avLst>
                <a:gd name="adj1" fmla="val 16199989"/>
                <a:gd name="adj2" fmla="val 0"/>
              </a:avLst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9" name="TextBox 95">
                  <a:extLst>
                    <a:ext uri="{FF2B5EF4-FFF2-40B4-BE49-F238E27FC236}">
                      <a16:creationId xmlns:a16="http://schemas.microsoft.com/office/drawing/2014/main" id="{16ABD0A0-B566-46CD-AED9-23681106746D}"/>
                    </a:ext>
                  </a:extLst>
                </p:cNvPr>
                <p:cNvSpPr txBox="1"/>
                <p:nvPr/>
              </p:nvSpPr>
              <p:spPr>
                <a:xfrm>
                  <a:off x="3019584" y="2612074"/>
                  <a:ext cx="307392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1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49" name="TextBox 95">
                  <a:extLst>
                    <a:ext uri="{FF2B5EF4-FFF2-40B4-BE49-F238E27FC236}">
                      <a16:creationId xmlns:a16="http://schemas.microsoft.com/office/drawing/2014/main" id="{16ABD0A0-B566-46CD-AED9-23681106746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19584" y="2612074"/>
                  <a:ext cx="307392" cy="261610"/>
                </a:xfrm>
                <a:prstGeom prst="rect">
                  <a:avLst/>
                </a:prstGeom>
                <a:blipFill>
                  <a:blip r:embed="rId6"/>
                  <a:stretch>
                    <a:fillRect r="-19355" b="-2703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" name="TextBox 96">
                  <a:extLst>
                    <a:ext uri="{FF2B5EF4-FFF2-40B4-BE49-F238E27FC236}">
                      <a16:creationId xmlns:a16="http://schemas.microsoft.com/office/drawing/2014/main" id="{50BF7F7E-C4B4-4F52-B6E4-355450C1B587}"/>
                    </a:ext>
                  </a:extLst>
                </p:cNvPr>
                <p:cNvSpPr txBox="1"/>
                <p:nvPr/>
              </p:nvSpPr>
              <p:spPr>
                <a:xfrm>
                  <a:off x="5562374" y="3037453"/>
                  <a:ext cx="363561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0" name="TextBox 96">
                  <a:extLst>
                    <a:ext uri="{FF2B5EF4-FFF2-40B4-BE49-F238E27FC236}">
                      <a16:creationId xmlns:a16="http://schemas.microsoft.com/office/drawing/2014/main" id="{50BF7F7E-C4B4-4F52-B6E4-355450C1B58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62374" y="3037453"/>
                  <a:ext cx="363561" cy="261610"/>
                </a:xfrm>
                <a:prstGeom prst="rect">
                  <a:avLst/>
                </a:prstGeom>
                <a:blipFill>
                  <a:blip r:embed="rId7"/>
                  <a:stretch>
                    <a:fillRect r="-16216" b="-111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" name="TextBox 97">
                  <a:extLst>
                    <a:ext uri="{FF2B5EF4-FFF2-40B4-BE49-F238E27FC236}">
                      <a16:creationId xmlns:a16="http://schemas.microsoft.com/office/drawing/2014/main" id="{F1856C0A-B8F8-41A2-A8BF-ABEB7F897E69}"/>
                    </a:ext>
                  </a:extLst>
                </p:cNvPr>
                <p:cNvSpPr txBox="1"/>
                <p:nvPr/>
              </p:nvSpPr>
              <p:spPr>
                <a:xfrm>
                  <a:off x="4410536" y="3035438"/>
                  <a:ext cx="355867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1" name="TextBox 97">
                  <a:extLst>
                    <a:ext uri="{FF2B5EF4-FFF2-40B4-BE49-F238E27FC236}">
                      <a16:creationId xmlns:a16="http://schemas.microsoft.com/office/drawing/2014/main" id="{F1856C0A-B8F8-41A2-A8BF-ABEB7F897E6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10536" y="3035438"/>
                  <a:ext cx="355867" cy="261610"/>
                </a:xfrm>
                <a:prstGeom prst="rect">
                  <a:avLst/>
                </a:prstGeom>
                <a:blipFill>
                  <a:blip r:embed="rId8"/>
                  <a:stretch>
                    <a:fillRect r="-13889" b="-108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" name="TextBox 98">
                  <a:extLst>
                    <a:ext uri="{FF2B5EF4-FFF2-40B4-BE49-F238E27FC236}">
                      <a16:creationId xmlns:a16="http://schemas.microsoft.com/office/drawing/2014/main" id="{81A4C57D-1B22-43FE-99DC-82501FDDD766}"/>
                    </a:ext>
                  </a:extLst>
                </p:cNvPr>
                <p:cNvSpPr txBox="1"/>
                <p:nvPr/>
              </p:nvSpPr>
              <p:spPr>
                <a:xfrm>
                  <a:off x="4115671" y="3427308"/>
                  <a:ext cx="345671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2" name="TextBox 98">
                  <a:extLst>
                    <a:ext uri="{FF2B5EF4-FFF2-40B4-BE49-F238E27FC236}">
                      <a16:creationId xmlns:a16="http://schemas.microsoft.com/office/drawing/2014/main" id="{81A4C57D-1B22-43FE-99DC-82501FDDD76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15671" y="3427308"/>
                  <a:ext cx="345671" cy="261610"/>
                </a:xfrm>
                <a:prstGeom prst="rect">
                  <a:avLst/>
                </a:prstGeom>
                <a:blipFill>
                  <a:blip r:embed="rId9"/>
                  <a:stretch>
                    <a:fillRect r="-14286" b="-108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TextBox 99">
                  <a:extLst>
                    <a:ext uri="{FF2B5EF4-FFF2-40B4-BE49-F238E27FC236}">
                      <a16:creationId xmlns:a16="http://schemas.microsoft.com/office/drawing/2014/main" id="{C4022B0A-40E1-4F2D-A17D-2A3A37CC2481}"/>
                    </a:ext>
                  </a:extLst>
                </p:cNvPr>
                <p:cNvSpPr txBox="1"/>
                <p:nvPr/>
              </p:nvSpPr>
              <p:spPr>
                <a:xfrm>
                  <a:off x="3489347" y="3035438"/>
                  <a:ext cx="355867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3" name="TextBox 99">
                  <a:extLst>
                    <a:ext uri="{FF2B5EF4-FFF2-40B4-BE49-F238E27FC236}">
                      <a16:creationId xmlns:a16="http://schemas.microsoft.com/office/drawing/2014/main" id="{C4022B0A-40E1-4F2D-A17D-2A3A37CC248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489347" y="3035438"/>
                  <a:ext cx="355867" cy="261610"/>
                </a:xfrm>
                <a:prstGeom prst="rect">
                  <a:avLst/>
                </a:prstGeom>
                <a:blipFill>
                  <a:blip r:embed="rId10"/>
                  <a:stretch>
                    <a:fillRect r="-11111" b="-108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4" name="TextBox 100">
                  <a:extLst>
                    <a:ext uri="{FF2B5EF4-FFF2-40B4-BE49-F238E27FC236}">
                      <a16:creationId xmlns:a16="http://schemas.microsoft.com/office/drawing/2014/main" id="{CC4736FE-6441-46C6-B1F2-21F14810F8EE}"/>
                    </a:ext>
                  </a:extLst>
                </p:cNvPr>
                <p:cNvSpPr txBox="1"/>
                <p:nvPr/>
              </p:nvSpPr>
              <p:spPr>
                <a:xfrm>
                  <a:off x="4968568" y="2065352"/>
                  <a:ext cx="329899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4" name="TextBox 100">
                  <a:extLst>
                    <a:ext uri="{FF2B5EF4-FFF2-40B4-BE49-F238E27FC236}">
                      <a16:creationId xmlns:a16="http://schemas.microsoft.com/office/drawing/2014/main" id="{CC4736FE-6441-46C6-B1F2-21F14810F8E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68568" y="2065352"/>
                  <a:ext cx="329899" cy="261610"/>
                </a:xfrm>
                <a:prstGeom prst="rect">
                  <a:avLst/>
                </a:prstGeom>
                <a:blipFill>
                  <a:blip r:embed="rId11"/>
                  <a:stretch>
                    <a:fillRect r="-8824" b="-108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5" name="TextBox 101">
                  <a:extLst>
                    <a:ext uri="{FF2B5EF4-FFF2-40B4-BE49-F238E27FC236}">
                      <a16:creationId xmlns:a16="http://schemas.microsoft.com/office/drawing/2014/main" id="{F358792E-5426-4B19-8587-C62222F977B0}"/>
                    </a:ext>
                  </a:extLst>
                </p:cNvPr>
                <p:cNvSpPr txBox="1"/>
                <p:nvPr/>
              </p:nvSpPr>
              <p:spPr>
                <a:xfrm>
                  <a:off x="4542634" y="2404293"/>
                  <a:ext cx="620298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s-MX" sz="11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𝐼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5" name="TextBox 101">
                  <a:extLst>
                    <a:ext uri="{FF2B5EF4-FFF2-40B4-BE49-F238E27FC236}">
                      <a16:creationId xmlns:a16="http://schemas.microsoft.com/office/drawing/2014/main" id="{F358792E-5426-4B19-8587-C62222F977B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42634" y="2404293"/>
                  <a:ext cx="620298" cy="261610"/>
                </a:xfrm>
                <a:prstGeom prst="rect">
                  <a:avLst/>
                </a:prstGeom>
                <a:blipFill>
                  <a:blip r:embed="rId12"/>
                  <a:stretch>
                    <a:fillRect r="-34375" b="-111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6" name="TextBox 102">
                  <a:extLst>
                    <a:ext uri="{FF2B5EF4-FFF2-40B4-BE49-F238E27FC236}">
                      <a16:creationId xmlns:a16="http://schemas.microsoft.com/office/drawing/2014/main" id="{2E2A7A39-4ABB-4BC3-BA34-98D2B33AC798}"/>
                    </a:ext>
                  </a:extLst>
                </p:cNvPr>
                <p:cNvSpPr txBox="1"/>
                <p:nvPr/>
              </p:nvSpPr>
              <p:spPr>
                <a:xfrm>
                  <a:off x="2681098" y="2226791"/>
                  <a:ext cx="366832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6" name="TextBox 102">
                  <a:extLst>
                    <a:ext uri="{FF2B5EF4-FFF2-40B4-BE49-F238E27FC236}">
                      <a16:creationId xmlns:a16="http://schemas.microsoft.com/office/drawing/2014/main" id="{2E2A7A39-4ABB-4BC3-BA34-98D2B33AC79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81098" y="2226791"/>
                  <a:ext cx="366832" cy="261610"/>
                </a:xfrm>
                <a:prstGeom prst="rect">
                  <a:avLst/>
                </a:prstGeom>
                <a:blipFill>
                  <a:blip r:embed="rId13"/>
                  <a:stretch>
                    <a:fillRect r="-15789" b="-8108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7" name="TextBox 103">
                  <a:extLst>
                    <a:ext uri="{FF2B5EF4-FFF2-40B4-BE49-F238E27FC236}">
                      <a16:creationId xmlns:a16="http://schemas.microsoft.com/office/drawing/2014/main" id="{857FDBEB-B690-4ED6-806F-56C3FF25B8D7}"/>
                    </a:ext>
                  </a:extLst>
                </p:cNvPr>
                <p:cNvSpPr txBox="1"/>
                <p:nvPr/>
              </p:nvSpPr>
              <p:spPr>
                <a:xfrm>
                  <a:off x="2111721" y="2598711"/>
                  <a:ext cx="359136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7" name="TextBox 103">
                  <a:extLst>
                    <a:ext uri="{FF2B5EF4-FFF2-40B4-BE49-F238E27FC236}">
                      <a16:creationId xmlns:a16="http://schemas.microsoft.com/office/drawing/2014/main" id="{857FDBEB-B690-4ED6-806F-56C3FF25B8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11721" y="2598711"/>
                  <a:ext cx="359136" cy="261610"/>
                </a:xfrm>
                <a:prstGeom prst="rect">
                  <a:avLst/>
                </a:prstGeom>
                <a:blipFill>
                  <a:blip r:embed="rId14"/>
                  <a:stretch>
                    <a:fillRect r="-13514" b="-8108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8" name="TextBox 104">
                  <a:extLst>
                    <a:ext uri="{FF2B5EF4-FFF2-40B4-BE49-F238E27FC236}">
                      <a16:creationId xmlns:a16="http://schemas.microsoft.com/office/drawing/2014/main" id="{E29F3764-E28D-426B-8FE5-8C80C3A50A99}"/>
                    </a:ext>
                  </a:extLst>
                </p:cNvPr>
                <p:cNvSpPr txBox="1"/>
                <p:nvPr/>
              </p:nvSpPr>
              <p:spPr>
                <a:xfrm>
                  <a:off x="2267769" y="2190723"/>
                  <a:ext cx="333168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8" name="TextBox 104">
                  <a:extLst>
                    <a:ext uri="{FF2B5EF4-FFF2-40B4-BE49-F238E27FC236}">
                      <a16:creationId xmlns:a16="http://schemas.microsoft.com/office/drawing/2014/main" id="{E29F3764-E28D-426B-8FE5-8C80C3A50A9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67769" y="2190723"/>
                  <a:ext cx="333168" cy="261610"/>
                </a:xfrm>
                <a:prstGeom prst="rect">
                  <a:avLst/>
                </a:prstGeom>
                <a:blipFill>
                  <a:blip r:embed="rId15"/>
                  <a:stretch>
                    <a:fillRect r="-11765" b="-111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Box 105">
                  <a:extLst>
                    <a:ext uri="{FF2B5EF4-FFF2-40B4-BE49-F238E27FC236}">
                      <a16:creationId xmlns:a16="http://schemas.microsoft.com/office/drawing/2014/main" id="{8A4112F1-7935-4FA6-A077-0D6581D61302}"/>
                    </a:ext>
                  </a:extLst>
                </p:cNvPr>
                <p:cNvSpPr txBox="1"/>
                <p:nvPr/>
              </p:nvSpPr>
              <p:spPr>
                <a:xfrm>
                  <a:off x="2608331" y="3031280"/>
                  <a:ext cx="623568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s-MX" sz="11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𝐼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9" name="TextBox 105">
                  <a:extLst>
                    <a:ext uri="{FF2B5EF4-FFF2-40B4-BE49-F238E27FC236}">
                      <a16:creationId xmlns:a16="http://schemas.microsoft.com/office/drawing/2014/main" id="{8A4112F1-7935-4FA6-A077-0D6581D6130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08331" y="3031280"/>
                  <a:ext cx="623568" cy="261610"/>
                </a:xfrm>
                <a:prstGeom prst="rect">
                  <a:avLst/>
                </a:prstGeom>
                <a:blipFill>
                  <a:blip r:embed="rId16"/>
                  <a:stretch>
                    <a:fillRect r="-34375" b="-111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95905880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7B5485E-CB22-449A-BB4E-D5E5D0CBC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A670EAD-8CFE-49D9-B5CE-1CC989B4AD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0750D82-9E55-4914-888B-69025614927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28D9115-803E-42C5-8466-64696FA27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n-US" dirty="0"/>
              <a:t>Dynamic equations</a:t>
            </a:r>
            <a:br>
              <a:rPr lang="es-MX" dirty="0"/>
            </a:br>
            <a:endParaRPr lang="es-MX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4857972-4401-4B69-93FC-D6EA7250661F}"/>
              </a:ext>
            </a:extLst>
          </p:cNvPr>
          <p:cNvSpPr/>
          <p:nvPr/>
        </p:nvSpPr>
        <p:spPr>
          <a:xfrm>
            <a:off x="395289" y="713194"/>
            <a:ext cx="35189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dirty="0" err="1"/>
              <a:t>The</a:t>
            </a:r>
            <a:r>
              <a:rPr lang="es-MX" dirty="0"/>
              <a:t> </a:t>
            </a:r>
            <a:r>
              <a:rPr lang="es-MX" dirty="0" err="1"/>
              <a:t>following</a:t>
            </a:r>
            <a:r>
              <a:rPr lang="es-MX" dirty="0"/>
              <a:t> are </a:t>
            </a:r>
            <a:r>
              <a:rPr lang="es-MX" dirty="0" err="1"/>
              <a:t>valid</a:t>
            </a:r>
            <a:r>
              <a:rPr lang="es-MX" dirty="0"/>
              <a:t> </a:t>
            </a:r>
            <a:r>
              <a:rPr lang="es-MX" dirty="0" err="1"/>
              <a:t>equalities</a:t>
            </a:r>
            <a:endParaRPr lang="es-MX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2" name="Rectángulo 71">
                <a:extLst>
                  <a:ext uri="{FF2B5EF4-FFF2-40B4-BE49-F238E27FC236}">
                    <a16:creationId xmlns:a16="http://schemas.microsoft.com/office/drawing/2014/main" id="{658B585C-81DB-40F1-899D-B18D5528DB4D}"/>
                  </a:ext>
                </a:extLst>
              </p:cNvPr>
              <p:cNvSpPr/>
              <p:nvPr/>
            </p:nvSpPr>
            <p:spPr>
              <a:xfrm>
                <a:off x="1187624" y="1601238"/>
                <a:ext cx="6120680" cy="156190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 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</m:acc>
                    </m:oMath>
                  </m:oMathPara>
                </a14:m>
                <a:endParaRPr lang="es-MX" dirty="0"/>
              </a:p>
              <a:p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s-MX" b="0" dirty="0">
                  <a:ea typeface="Cambria Math" panose="02040503050406030204" pitchFamily="18" charset="0"/>
                </a:endParaRPr>
              </a:p>
              <a:p>
                <a:endParaRPr lang="es-MX" b="0" dirty="0"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</m:acc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acc>
                        <m:accPr>
                          <m:chr m:val="̈"/>
                          <m:ctrlP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</m:acc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MX" b="0" dirty="0"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2" name="Rectángulo 71">
                <a:extLst>
                  <a:ext uri="{FF2B5EF4-FFF2-40B4-BE49-F238E27FC236}">
                    <a16:creationId xmlns:a16="http://schemas.microsoft.com/office/drawing/2014/main" id="{658B585C-81DB-40F1-899D-B18D5528DB4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7624" y="1601238"/>
                <a:ext cx="6120680" cy="1561902"/>
              </a:xfrm>
              <a:prstGeom prst="rect">
                <a:avLst/>
              </a:prstGeom>
              <a:blipFill>
                <a:blip r:embed="rId3"/>
                <a:stretch>
                  <a:fillRect b="-391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6018678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0A76DA-506E-4534-8E31-086952383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74452EC-3092-47C1-A932-3B14A3053A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8124334-3B1B-4830-8C14-DC2D7B5E035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1175182B-D861-4588-8C86-6242EA17E58C}"/>
                  </a:ext>
                </a:extLst>
              </p:cNvPr>
              <p:cNvSpPr/>
              <p:nvPr/>
            </p:nvSpPr>
            <p:spPr>
              <a:xfrm>
                <a:off x="414364" y="899164"/>
                <a:ext cx="7776863" cy="24295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MX" dirty="0"/>
              </a:p>
              <a:p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𝑟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s-MX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MX" dirty="0"/>
              </a:p>
              <a:p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acc>
                            <m:accPr>
                              <m:chr m:val="̇"/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</m:acc>
                        </m:num>
                        <m:den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r>
                        <a:rPr lang="es-MX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1175182B-D861-4588-8C86-6242EA17E5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364" y="899164"/>
                <a:ext cx="7776863" cy="2429511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ítulo 2">
            <a:extLst>
              <a:ext uri="{FF2B5EF4-FFF2-40B4-BE49-F238E27FC236}">
                <a16:creationId xmlns:a16="http://schemas.microsoft.com/office/drawing/2014/main" id="{47E938EA-7A09-46C7-B4BA-FDAEB8243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s-MX" dirty="0"/>
              <a:t>Dynamic </a:t>
            </a:r>
            <a:r>
              <a:rPr lang="es-MX" dirty="0" err="1"/>
              <a:t>equations</a:t>
            </a:r>
            <a:br>
              <a:rPr lang="es-MX" dirty="0"/>
            </a:br>
            <a:endParaRPr lang="es-MX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D60F9AC6-D26B-4713-B020-96282680D052}"/>
              </a:ext>
            </a:extLst>
          </p:cNvPr>
          <p:cNvSpPr/>
          <p:nvPr/>
        </p:nvSpPr>
        <p:spPr>
          <a:xfrm>
            <a:off x="338379" y="3644617"/>
            <a:ext cx="79816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dirty="0" err="1"/>
              <a:t>The</a:t>
            </a:r>
            <a:r>
              <a:rPr lang="es-MX" dirty="0"/>
              <a:t> tire </a:t>
            </a:r>
            <a:r>
              <a:rPr lang="es-MX" dirty="0" err="1"/>
              <a:t>forces</a:t>
            </a:r>
            <a:r>
              <a:rPr lang="es-MX" dirty="0"/>
              <a:t> per </a:t>
            </a:r>
            <a:r>
              <a:rPr lang="es-MX" dirty="0" err="1"/>
              <a:t>axle</a:t>
            </a:r>
            <a:r>
              <a:rPr lang="es-MX" dirty="0"/>
              <a:t> are </a:t>
            </a:r>
            <a:r>
              <a:rPr lang="es-MX" dirty="0" err="1"/>
              <a:t>assumed</a:t>
            </a:r>
            <a:r>
              <a:rPr lang="es-MX" dirty="0"/>
              <a:t> </a:t>
            </a:r>
            <a:r>
              <a:rPr lang="es-MX" dirty="0" err="1"/>
              <a:t>to</a:t>
            </a:r>
            <a:r>
              <a:rPr lang="es-MX" dirty="0"/>
              <a:t> be </a:t>
            </a:r>
            <a:r>
              <a:rPr lang="es-MX" dirty="0" err="1"/>
              <a:t>proportional</a:t>
            </a:r>
            <a:r>
              <a:rPr lang="es-MX" dirty="0"/>
              <a:t> </a:t>
            </a:r>
            <a:r>
              <a:rPr lang="es-MX" dirty="0" err="1"/>
              <a:t>to</a:t>
            </a:r>
            <a:r>
              <a:rPr lang="es-MX" dirty="0"/>
              <a:t> </a:t>
            </a:r>
            <a:r>
              <a:rPr lang="es-MX" dirty="0" err="1"/>
              <a:t>the</a:t>
            </a:r>
            <a:r>
              <a:rPr lang="es-MX" dirty="0"/>
              <a:t> tire slip </a:t>
            </a:r>
            <a:r>
              <a:rPr lang="es-MX" dirty="0" err="1"/>
              <a:t>angles</a:t>
            </a:r>
            <a:endParaRPr lang="es-MX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ángulo 10">
                <a:extLst>
                  <a:ext uri="{FF2B5EF4-FFF2-40B4-BE49-F238E27FC236}">
                    <a16:creationId xmlns:a16="http://schemas.microsoft.com/office/drawing/2014/main" id="{C9ED74AD-F493-4470-8876-6864AB81ECA3}"/>
                  </a:ext>
                </a:extLst>
              </p:cNvPr>
              <p:cNvSpPr/>
              <p:nvPr/>
            </p:nvSpPr>
            <p:spPr>
              <a:xfrm>
                <a:off x="325084" y="3959137"/>
                <a:ext cx="6376874" cy="39158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𝑦𝑓</m:t>
                        </m:r>
                      </m:sub>
                    </m:sSub>
                  </m:oMath>
                </a14:m>
                <a:r>
                  <a:rPr lang="es-MX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𝑦𝑟</m:t>
                        </m:r>
                      </m:sub>
                    </m:sSub>
                  </m:oMath>
                </a14:m>
                <a:r>
                  <a:rPr lang="es-MX" dirty="0"/>
                  <a:t>,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s-MX" dirty="0"/>
                  <a:t> are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cornering</a:t>
                </a:r>
                <a:r>
                  <a:rPr lang="es-MX" dirty="0"/>
                  <a:t> </a:t>
                </a:r>
                <a:r>
                  <a:rPr lang="es-MX" dirty="0" err="1"/>
                  <a:t>stiffnes</a:t>
                </a:r>
                <a:r>
                  <a:rPr lang="es-MX" dirty="0"/>
                  <a:t> </a:t>
                </a:r>
                <a:r>
                  <a:rPr lang="es-MX" dirty="0" err="1"/>
                  <a:t>values</a:t>
                </a:r>
                <a:r>
                  <a:rPr lang="es-MX" dirty="0"/>
                  <a:t> </a:t>
                </a:r>
                <a:r>
                  <a:rPr lang="es-MX" dirty="0" err="1"/>
                  <a:t>for</a:t>
                </a:r>
                <a:r>
                  <a:rPr lang="es-MX" dirty="0"/>
                  <a:t> </a:t>
                </a:r>
                <a:r>
                  <a:rPr lang="es-MX" dirty="0" err="1"/>
                  <a:t>the</a:t>
                </a:r>
                <a:r>
                  <a:rPr lang="es-MX" dirty="0"/>
                  <a:t> tires</a:t>
                </a:r>
              </a:p>
            </p:txBody>
          </p:sp>
        </mc:Choice>
        <mc:Fallback xmlns="">
          <p:sp>
            <p:nvSpPr>
              <p:cNvPr id="11" name="Rectángulo 10">
                <a:extLst>
                  <a:ext uri="{FF2B5EF4-FFF2-40B4-BE49-F238E27FC236}">
                    <a16:creationId xmlns:a16="http://schemas.microsoft.com/office/drawing/2014/main" id="{C9ED74AD-F493-4470-8876-6864AB81ECA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084" y="3959137"/>
                <a:ext cx="6376874" cy="391582"/>
              </a:xfrm>
              <a:prstGeom prst="rect">
                <a:avLst/>
              </a:prstGeom>
              <a:blipFill>
                <a:blip r:embed="rId3"/>
                <a:stretch>
                  <a:fillRect t="-7692" b="-16923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2063918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3E4279-FD2E-459D-BC0B-8D8549A3B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2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41DEF490-3E4F-47B5-BD5F-51AA605661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6BF9E23-621A-48FC-B0E2-76002C58C48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FF26A34E-8A1C-4415-A593-2D0CB095A7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s-MX" dirty="0"/>
              <a:t>Dynamic </a:t>
            </a:r>
            <a:r>
              <a:rPr lang="es-MX" dirty="0" err="1"/>
              <a:t>equations</a:t>
            </a:r>
            <a:br>
              <a:rPr lang="es-MX" dirty="0"/>
            </a:br>
            <a:endParaRPr lang="es-MX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C082672F-B105-438F-B127-31E80EBF010F}"/>
              </a:ext>
            </a:extLst>
          </p:cNvPr>
          <p:cNvSpPr/>
          <p:nvPr/>
        </p:nvSpPr>
        <p:spPr>
          <a:xfrm>
            <a:off x="611560" y="802908"/>
            <a:ext cx="76328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ombining equations yields a system of linear equations</a:t>
            </a:r>
            <a:endParaRPr lang="es-MX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EC8AFEF4-4867-4CA5-9760-53CE01CDE7CF}"/>
                  </a:ext>
                </a:extLst>
              </p:cNvPr>
              <p:cNvSpPr txBox="1"/>
              <p:nvPr/>
            </p:nvSpPr>
            <p:spPr>
              <a:xfrm>
                <a:off x="3363491" y="1281122"/>
                <a:ext cx="254512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𝐌</m:t>
                      </m:r>
                      <m:acc>
                        <m:accPr>
                          <m:chr m:val="̇"/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acc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𝐃</m:t>
                      </m:r>
                      <m:d>
                        <m:d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𝐄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𝐅</m:t>
                      </m:r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EC8AFEF4-4867-4CA5-9760-53CE01CDE7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491" y="1281122"/>
                <a:ext cx="2545120" cy="276999"/>
              </a:xfrm>
              <a:prstGeom prst="rect">
                <a:avLst/>
              </a:prstGeom>
              <a:blipFill>
                <a:blip r:embed="rId2"/>
                <a:stretch>
                  <a:fillRect l="-480" r="-480" b="-13043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Imagen 13">
            <a:extLst>
              <a:ext uri="{FF2B5EF4-FFF2-40B4-BE49-F238E27FC236}">
                <a16:creationId xmlns:a16="http://schemas.microsoft.com/office/drawing/2014/main" id="{9D1B1330-AB17-40CE-B0FA-158C7164F5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88" t="28059" r="54725" b="44208"/>
          <a:stretch/>
        </p:blipFill>
        <p:spPr>
          <a:xfrm>
            <a:off x="467544" y="1779661"/>
            <a:ext cx="4181943" cy="1152129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31F85F6F-A910-4AED-A3BB-A63DC7DEF20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114" t="13171" r="56299" b="51393"/>
          <a:stretch/>
        </p:blipFill>
        <p:spPr>
          <a:xfrm>
            <a:off x="395289" y="3036666"/>
            <a:ext cx="4313581" cy="1270579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E9E04DB3-3AED-47CE-BCCC-817F35A4CE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114" t="47758" r="83073" b="27904"/>
          <a:stretch/>
        </p:blipFill>
        <p:spPr>
          <a:xfrm>
            <a:off x="7020272" y="1751290"/>
            <a:ext cx="1440160" cy="951727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704AADB7-DE63-4156-889C-47BE0CDF586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684" t="47758" r="75228" b="27904"/>
          <a:stretch/>
        </p:blipFill>
        <p:spPr>
          <a:xfrm>
            <a:off x="7128284" y="2715766"/>
            <a:ext cx="1224136" cy="134827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C8F00FA3-6F56-484E-955D-A140D9FC7BC8}"/>
                  </a:ext>
                </a:extLst>
              </p:cNvPr>
              <p:cNvSpPr txBox="1"/>
              <p:nvPr/>
            </p:nvSpPr>
            <p:spPr>
              <a:xfrm>
                <a:off x="5425288" y="1814573"/>
                <a:ext cx="1009764" cy="1020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s-MX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s-MX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MX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</m:e>
                                <m:sub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acc>
                                <m:accPr>
                                  <m:chr m:val="̇"/>
                                  <m:ctrlP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</m:acc>
                            </m:e>
                            <m:e>
                              <m:r>
                                <a:rPr lang="es-MX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C8F00FA3-6F56-484E-955D-A140D9FC7B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25288" y="1814573"/>
                <a:ext cx="1009764" cy="102047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AF50DF42-6EEA-4208-9C95-351EC875BBCC}"/>
                  </a:ext>
                </a:extLst>
              </p:cNvPr>
              <p:cNvSpPr txBox="1"/>
              <p:nvPr/>
            </p:nvSpPr>
            <p:spPr>
              <a:xfrm>
                <a:off x="5580112" y="3365937"/>
                <a:ext cx="10229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∆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AF50DF42-6EEA-4208-9C95-351EC875BB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0112" y="3365937"/>
                <a:ext cx="1022972" cy="276999"/>
              </a:xfrm>
              <a:prstGeom prst="rect">
                <a:avLst/>
              </a:prstGeom>
              <a:blipFill>
                <a:blip r:embed="rId6"/>
                <a:stretch>
                  <a:fillRect l="-2381" r="-1786" b="-17391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0744509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4"/>
  <p:tag name="MIO_SHOW_DATE" val="True"/>
  <p:tag name="MIO_SHOW_FOOTER" val="True"/>
  <p:tag name="MIO_SHOW_PAGENUMBER" val="True"/>
  <p:tag name="MIO_AVOID_BLANK_LAYOUT" val="Fals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30.06.2017 15:29:39"/>
  <p:tag name="MIO_DBID" val="ED9FF2F2-6643-46BA-B685-7D49126FFAFF"/>
  <p:tag name="MIO_LASTDOWNLOADED" val="10.07.2017 14:56:51"/>
  <p:tag name="MIO_OBJECTNAME" val="Automotive, 16x9"/>
  <p:tag name="MIO_LASTEDITORNAME" val="Leon Kirchner_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15.02.2018 16:15:32"/>
  <p:tag name="MIO_DBID" val="ED9FF2F2-6643-46BA-B685-7D49126FFAFF"/>
  <p:tag name="MIO_LASTDOWNLOADED" val="25.05.2020 13:48:26"/>
  <p:tag name="MIO_OBJECTNAME" val="Automotive, 16x9"/>
</p:tagLst>
</file>

<file path=ppt/theme/theme1.xml><?xml version="1.0" encoding="utf-8"?>
<a:theme xmlns:a="http://schemas.openxmlformats.org/drawingml/2006/main" name="Continental AG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8</TotalTime>
  <Words>1010</Words>
  <Application>Microsoft Office PowerPoint</Application>
  <PresentationFormat>Presentación en pantalla (16:9)</PresentationFormat>
  <Paragraphs>158</Paragraphs>
  <Slides>12</Slides>
  <Notes>7</Notes>
  <HiddenSlides>0</HiddenSlides>
  <MMClips>0</MMClips>
  <ScaleCrop>false</ScaleCrop>
  <HeadingPairs>
    <vt:vector size="6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15" baseType="lpstr">
      <vt:lpstr>Arial</vt:lpstr>
      <vt:lpstr>Cambria Math</vt:lpstr>
      <vt:lpstr>Continental AG, 16x9</vt:lpstr>
      <vt:lpstr>Lateral Control Passenger Cars with Trailer</vt:lpstr>
      <vt:lpstr>Analytical model of vehicle-trailer combination </vt:lpstr>
      <vt:lpstr>Presentación de PowerPoint</vt:lpstr>
      <vt:lpstr>Presentación de PowerPoint</vt:lpstr>
      <vt:lpstr>Dynamic equations </vt:lpstr>
      <vt:lpstr>Dynamic equations </vt:lpstr>
      <vt:lpstr>Dynamic equations </vt:lpstr>
      <vt:lpstr>Dynamic equations </vt:lpstr>
      <vt:lpstr>Dynamic equations </vt:lpstr>
      <vt:lpstr>System of linear equations to the vehicle-trailer combination</vt:lpstr>
      <vt:lpstr>Presentación de PowerPoint</vt:lpstr>
      <vt:lpstr>Presentación de PowerPoint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tinez Ramirez, Julio (uic26460)</dc:creator>
  <cp:lastModifiedBy>Sara Moreno</cp:lastModifiedBy>
  <cp:revision>26</cp:revision>
  <dcterms:created xsi:type="dcterms:W3CDTF">2018-02-15T15:15:31Z</dcterms:created>
  <dcterms:modified xsi:type="dcterms:W3CDTF">2020-06-22T18:43:33Z</dcterms:modified>
</cp:coreProperties>
</file>